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67" r:id="rId4"/>
  </p:sldMasterIdLst>
  <p:notesMasterIdLst>
    <p:notesMasterId r:id="rId24"/>
  </p:notesMasterIdLst>
  <p:sldIdLst>
    <p:sldId id="6179" r:id="rId5"/>
    <p:sldId id="6217" r:id="rId6"/>
    <p:sldId id="6218" r:id="rId7"/>
    <p:sldId id="6219" r:id="rId8"/>
    <p:sldId id="6220" r:id="rId9"/>
    <p:sldId id="6221" r:id="rId10"/>
    <p:sldId id="6222" r:id="rId11"/>
    <p:sldId id="6223" r:id="rId12"/>
    <p:sldId id="6224" r:id="rId13"/>
    <p:sldId id="6213" r:id="rId14"/>
    <p:sldId id="6226" r:id="rId15"/>
    <p:sldId id="6214" r:id="rId16"/>
    <p:sldId id="5429" r:id="rId17"/>
    <p:sldId id="5916" r:id="rId18"/>
    <p:sldId id="5814" r:id="rId19"/>
    <p:sldId id="5437" r:id="rId20"/>
    <p:sldId id="6225" r:id="rId21"/>
    <p:sldId id="6227" r:id="rId22"/>
    <p:sldId id="6228" r:id="rId23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25"/>
      <p:bold r:id="rId26"/>
      <p:italic r:id="rId27"/>
      <p:boldItalic r:id="rId28"/>
    </p:embeddedFont>
    <p:embeddedFont>
      <p:font typeface="Roboto" panose="02000000000000000000" pitchFamily="2" charset="0"/>
      <p:regular r:id="rId29"/>
      <p:bold r:id="rId30"/>
      <p:italic r:id="rId31"/>
      <p:boldItalic r:id="rId32"/>
    </p:embeddedFont>
    <p:embeddedFont>
      <p:font typeface="Speedee" panose="020B0603030502020204" pitchFamily="34" charset="0"/>
      <p:regular r:id="rId33"/>
      <p:bold r:id="rId34"/>
      <p:italic r:id="rId35"/>
      <p:boldItalic r:id="rId36"/>
    </p:embeddedFont>
  </p:embeddedFontLst>
  <p:custDataLst>
    <p:tags r:id="rId37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Default Section" id="{75194185-0B3A-4EEA-976C-7DFE184E7743}">
          <p14:sldIdLst>
            <p14:sldId id="6179"/>
            <p14:sldId id="6217"/>
            <p14:sldId id="6218"/>
            <p14:sldId id="6219"/>
            <p14:sldId id="6220"/>
            <p14:sldId id="6221"/>
            <p14:sldId id="6222"/>
            <p14:sldId id="6223"/>
            <p14:sldId id="6224"/>
            <p14:sldId id="6213"/>
            <p14:sldId id="6226"/>
            <p14:sldId id="6214"/>
            <p14:sldId id="5429"/>
            <p14:sldId id="5916"/>
            <p14:sldId id="5814"/>
            <p14:sldId id="5437"/>
            <p14:sldId id="6225"/>
            <p14:sldId id="6227"/>
            <p14:sldId id="622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913" userDrawn="1">
          <p15:clr>
            <a:srgbClr val="A4A3A4"/>
          </p15:clr>
        </p15:guide>
        <p15:guide id="2" pos="2880">
          <p15:clr>
            <a:srgbClr val="A4A3A4"/>
          </p15:clr>
        </p15:guide>
        <p15:guide id="3" pos="180" userDrawn="1">
          <p15:clr>
            <a:srgbClr val="A4A3A4"/>
          </p15:clr>
        </p15:guide>
        <p15:guide id="4" pos="5591" userDrawn="1">
          <p15:clr>
            <a:srgbClr val="A4A3A4"/>
          </p15:clr>
        </p15:guide>
        <p15:guide id="5" pos="2784" userDrawn="1">
          <p15:clr>
            <a:srgbClr val="A4A3A4"/>
          </p15:clr>
        </p15:guide>
        <p15:guide id="6" pos="2976" userDrawn="1">
          <p15:clr>
            <a:srgbClr val="A4A3A4"/>
          </p15:clr>
        </p15:guide>
        <p15:guide id="7" orient="horz" pos="599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3DA8A53-29EF-0D5C-77EF-65CD34A15CCB}" name="Neurotrauma Sciences" initials="NS" userId="f351320c005882ee" providerId="Windows Live"/>
  <p188:author id="{1BAFCBC8-66DA-C452-EB16-27969E0CD301}" name="Tom Jay Parry" initials="TJP" userId="S::tomparry@temple.edu::0f9db301-b425-4733-b738-6455032c4c81" providerId="AD"/>
  <p188:author id="{FE029DCB-29B2-9D3F-76CF-632B3F172CC8}" name="Kenneth Moch" initials="KIM" userId="Kenneth Moch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ohn-Claude Saltiel" initials="JCS" lastIdx="2" clrIdx="0">
    <p:extLst>
      <p:ext uri="{19B8F6BF-5375-455C-9EA6-DF929625EA0E}">
        <p15:presenceInfo xmlns:p15="http://schemas.microsoft.com/office/powerpoint/2012/main" userId="John-Claude Saltiel" providerId="None"/>
      </p:ext>
    </p:extLst>
  </p:cmAuthor>
  <p:cmAuthor id="2" name="Neurotrauma Sciences" initials="NS" lastIdx="24" clrIdx="1">
    <p:extLst>
      <p:ext uri="{19B8F6BF-5375-455C-9EA6-DF929625EA0E}">
        <p15:presenceInfo xmlns:p15="http://schemas.microsoft.com/office/powerpoint/2012/main" userId="f351320c005882ee" providerId="Windows Live"/>
      </p:ext>
    </p:extLst>
  </p:cmAuthor>
  <p:cmAuthor id="3" name="Slidexpress" initials="S" lastIdx="2" clrIdx="2">
    <p:extLst>
      <p:ext uri="{19B8F6BF-5375-455C-9EA6-DF929625EA0E}">
        <p15:presenceInfo xmlns:p15="http://schemas.microsoft.com/office/powerpoint/2012/main" userId="Slidexpres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60"/>
    <a:srgbClr val="000E91"/>
    <a:srgbClr val="4285F4"/>
    <a:srgbClr val="04143F"/>
    <a:srgbClr val="4581C3"/>
    <a:srgbClr val="FF9966"/>
    <a:srgbClr val="DF6236"/>
    <a:srgbClr val="FF6699"/>
    <a:srgbClr val="FFB8DE"/>
    <a:srgbClr val="21416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2FE123F-CB1A-46C3-883C-E0465DE1C88C}">
  <a:tblStyle styleId="{E2FE123F-CB1A-46C3-883C-E0465DE1C88C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CBCA11C8-AFDE-46D8-BF69-B25F7210C335}" styleName="Table_1">
    <a:wholeTbl>
      <a:tcTxStyle b="off" i="off">
        <a:font>
          <a:latin typeface="Calibri"/>
          <a:ea typeface="Calibri"/>
          <a:cs typeface="Calibri"/>
        </a:font>
        <a:srgbClr val="000000"/>
      </a:tcTxStyle>
      <a:tcStyle>
        <a:tcBdr>
          <a:lef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716" autoAdjust="0"/>
    <p:restoredTop sz="93605" autoAdjust="0"/>
  </p:normalViewPr>
  <p:slideViewPr>
    <p:cSldViewPr snapToGrid="0">
      <p:cViewPr varScale="1">
        <p:scale>
          <a:sx n="153" d="100"/>
          <a:sy n="153" d="100"/>
        </p:scale>
        <p:origin x="184" y="184"/>
      </p:cViewPr>
      <p:guideLst>
        <p:guide orient="horz" pos="2913"/>
        <p:guide pos="2880"/>
        <p:guide pos="180"/>
        <p:guide pos="5591"/>
        <p:guide pos="2784"/>
        <p:guide pos="2976"/>
        <p:guide orient="horz" pos="599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56" d="100"/>
        <a:sy n="156" d="100"/>
      </p:scale>
      <p:origin x="0" y="-1078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2.fntdata"/><Relationship Id="rId39" Type="http://schemas.openxmlformats.org/officeDocument/2006/relationships/presProps" Target="presProps.xml"/><Relationship Id="rId21" Type="http://schemas.openxmlformats.org/officeDocument/2006/relationships/slide" Target="slides/slide17.xml"/><Relationship Id="rId34" Type="http://schemas.openxmlformats.org/officeDocument/2006/relationships/font" Target="fonts/font10.fntdata"/><Relationship Id="rId42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font" Target="fonts/font5.fntdata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32" Type="http://schemas.openxmlformats.org/officeDocument/2006/relationships/font" Target="fonts/font8.fntdata"/><Relationship Id="rId37" Type="http://schemas.openxmlformats.org/officeDocument/2006/relationships/tags" Target="tags/tag1.xml"/><Relationship Id="rId40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font" Target="fonts/font4.fntdata"/><Relationship Id="rId36" Type="http://schemas.openxmlformats.org/officeDocument/2006/relationships/font" Target="fonts/font12.fnt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7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font" Target="fonts/font3.fntdata"/><Relationship Id="rId30" Type="http://schemas.openxmlformats.org/officeDocument/2006/relationships/font" Target="fonts/font6.fntdata"/><Relationship Id="rId35" Type="http://schemas.openxmlformats.org/officeDocument/2006/relationships/font" Target="fonts/font11.fntdata"/><Relationship Id="rId43" Type="http://schemas.microsoft.com/office/2018/10/relationships/authors" Target="author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1.fntdata"/><Relationship Id="rId33" Type="http://schemas.openxmlformats.org/officeDocument/2006/relationships/font" Target="fonts/font9.fntdata"/><Relationship Id="rId38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buller\Dropbox\NTS\Pharm%20Sub%20Team\full%20summary%20data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buller\Dropbox\NTS\Pharm%20Sub%20Team\full%20summary%20data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641185212819173"/>
          <c:y val="0.39242163576504868"/>
          <c:w val="0.78193821838558386"/>
          <c:h val="0.4279719944602320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ehicle n=27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Pre</c:v>
                </c:pt>
                <c:pt idx="1">
                  <c:v>Pos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.5</c:v>
                </c:pt>
                <c:pt idx="1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A0C-4B40-B8E3-CDAA0BE4F2A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0.1nM NTS n=20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Pre</c:v>
                </c:pt>
                <c:pt idx="1">
                  <c:v>Post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1.5</c:v>
                </c:pt>
                <c:pt idx="1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A0C-4B40-B8E3-CDAA0BE4F2A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nM NTS n=28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Pre</c:v>
                </c:pt>
                <c:pt idx="1">
                  <c:v>Post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2</c:v>
                </c:pt>
                <c:pt idx="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A0C-4B40-B8E3-CDAA0BE4F2A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.1nM Progesterone n=16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Pre</c:v>
                </c:pt>
                <c:pt idx="1">
                  <c:v>Post</c:v>
                </c:pt>
              </c:strCache>
            </c:strRef>
          </c:cat>
          <c:val>
            <c:numRef>
              <c:f>Sheet1!$E$2:$E$3</c:f>
              <c:numCache>
                <c:formatCode>General</c:formatCode>
                <c:ptCount val="2"/>
                <c:pt idx="0">
                  <c:v>1</c:v>
                </c:pt>
                <c:pt idx="1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A0C-4B40-B8E3-CDAA0BE4F2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-27"/>
        <c:axId val="428365727"/>
        <c:axId val="428372799"/>
      </c:barChart>
      <c:catAx>
        <c:axId val="4283657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428372799"/>
        <c:crosses val="autoZero"/>
        <c:auto val="1"/>
        <c:lblAlgn val="ctr"/>
        <c:lblOffset val="100"/>
        <c:noMultiLvlLbl val="0"/>
      </c:catAx>
      <c:valAx>
        <c:axId val="428372799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r>
                  <a:rPr lang="en-IN" sz="1400" dirty="0">
                    <a:solidFill>
                      <a:schemeClr val="tx1"/>
                    </a:solidFill>
                  </a:rPr>
                  <a:t>Cell Death (%)</a:t>
                </a:r>
              </a:p>
            </c:rich>
          </c:tx>
          <c:layout>
            <c:manualLayout>
              <c:xMode val="edge"/>
              <c:yMode val="edge"/>
              <c:x val="2.2839404089256433E-2"/>
              <c:y val="0.398813982225304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428365727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22365890430839089"/>
          <c:y val="6.9068683883956165E-4"/>
          <c:w val="0.56202807139010313"/>
          <c:h val="0.3702812534443842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rgbClr val="04143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864703303439619"/>
          <c:y val="6.4426182600462609E-2"/>
          <c:w val="0.72747762821221629"/>
          <c:h val="0.7140811700763432"/>
        </c:manualLayout>
      </c:layout>
      <c:barChart>
        <c:barDir val="col"/>
        <c:grouping val="clustered"/>
        <c:varyColors val="0"/>
        <c:ser>
          <c:idx val="0"/>
          <c:order val="0"/>
          <c:tx>
            <c:v>Vehicle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errBars>
            <c:errBarType val="plus"/>
            <c:errValType val="cust"/>
            <c:noEndCap val="0"/>
            <c:plus>
              <c:numRef>
                <c:f>('IL-6 biomarker'!$C$11,'IL-6 biomarker'!$F$11,'IL-6 biomarker'!$I$11)</c:f>
                <c:numCache>
                  <c:formatCode>General</c:formatCode>
                  <c:ptCount val="3"/>
                  <c:pt idx="0">
                    <c:v>108.97101724770678</c:v>
                  </c:pt>
                  <c:pt idx="1">
                    <c:v>71.993267740810296</c:v>
                  </c:pt>
                  <c:pt idx="2">
                    <c:v>62.693465369207352</c:v>
                  </c:pt>
                </c:numCache>
              </c:numRef>
            </c:plus>
            <c:minus>
              <c:numLit>
                <c:formatCode>General</c:formatCode>
                <c:ptCount val="1"/>
                <c:pt idx="0">
                  <c:v>1</c:v>
                </c:pt>
              </c:numLit>
            </c:minus>
            <c:spPr>
              <a:noFill/>
              <a:ln w="28575" cap="flat" cmpd="sng" algn="ctr">
                <a:solidFill>
                  <a:srgbClr val="0070C0"/>
                </a:solidFill>
                <a:round/>
              </a:ln>
              <a:effectLst/>
            </c:spPr>
          </c:errBars>
          <c:cat>
            <c:numRef>
              <c:f>'IL-6 biomarker'!$F$2:$H$2</c:f>
              <c:numCache>
                <c:formatCode>General</c:formatCode>
                <c:ptCount val="3"/>
                <c:pt idx="0">
                  <c:v>6</c:v>
                </c:pt>
                <c:pt idx="1">
                  <c:v>12</c:v>
                </c:pt>
                <c:pt idx="2">
                  <c:v>24</c:v>
                </c:pt>
              </c:numCache>
            </c:numRef>
          </c:cat>
          <c:val>
            <c:numRef>
              <c:f>('IL-6 biomarker'!$C$10,'IL-6 biomarker'!$F$10,'IL-6 biomarker'!$I$10)</c:f>
              <c:numCache>
                <c:formatCode>0.0</c:formatCode>
                <c:ptCount val="3"/>
                <c:pt idx="0">
                  <c:v>397.34</c:v>
                </c:pt>
                <c:pt idx="1">
                  <c:v>365.06000000000006</c:v>
                </c:pt>
                <c:pt idx="2">
                  <c:v>219.45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297-4E13-A2E7-426D0E1ECABA}"/>
            </c:ext>
          </c:extLst>
        </c:ser>
        <c:ser>
          <c:idx val="1"/>
          <c:order val="1"/>
          <c:tx>
            <c:v>5 mg/kg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errBars>
            <c:errBarType val="plus"/>
            <c:errValType val="cust"/>
            <c:noEndCap val="0"/>
            <c:plus>
              <c:numRef>
                <c:f>('IL-6 biomarker'!$D$11,'IL-6 biomarker'!$G$11,'IL-6 biomarker'!$J$11)</c:f>
                <c:numCache>
                  <c:formatCode>General</c:formatCode>
                  <c:ptCount val="3"/>
                  <c:pt idx="0">
                    <c:v>83.021858567488124</c:v>
                  </c:pt>
                  <c:pt idx="1">
                    <c:v>44.650390815758783</c:v>
                  </c:pt>
                  <c:pt idx="2">
                    <c:v>66.426646761672373</c:v>
                  </c:pt>
                </c:numCache>
              </c:numRef>
            </c:plus>
            <c:minus>
              <c:numLit>
                <c:formatCode>General</c:formatCode>
                <c:ptCount val="1"/>
                <c:pt idx="0">
                  <c:v>1</c:v>
                </c:pt>
              </c:numLit>
            </c:minus>
            <c:spPr>
              <a:noFill/>
              <a:ln w="28575" cap="flat" cmpd="sng" algn="ctr">
                <a:solidFill>
                  <a:schemeClr val="accent2"/>
                </a:solidFill>
                <a:round/>
              </a:ln>
              <a:effectLst/>
            </c:spPr>
          </c:errBars>
          <c:cat>
            <c:numRef>
              <c:f>'IL-6 biomarker'!$F$2:$H$2</c:f>
              <c:numCache>
                <c:formatCode>General</c:formatCode>
                <c:ptCount val="3"/>
                <c:pt idx="0">
                  <c:v>6</c:v>
                </c:pt>
                <c:pt idx="1">
                  <c:v>12</c:v>
                </c:pt>
                <c:pt idx="2">
                  <c:v>24</c:v>
                </c:pt>
              </c:numCache>
            </c:numRef>
          </c:cat>
          <c:val>
            <c:numRef>
              <c:f>('IL-6 biomarker'!$D$10,'IL-6 biomarker'!$G$10,'IL-6 biomarker'!$J$10)</c:f>
              <c:numCache>
                <c:formatCode>0.0</c:formatCode>
                <c:ptCount val="3"/>
                <c:pt idx="0">
                  <c:v>552.5</c:v>
                </c:pt>
                <c:pt idx="1">
                  <c:v>399.18</c:v>
                </c:pt>
                <c:pt idx="2">
                  <c:v>203.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297-4E13-A2E7-426D0E1ECABA}"/>
            </c:ext>
          </c:extLst>
        </c:ser>
        <c:ser>
          <c:idx val="2"/>
          <c:order val="2"/>
          <c:tx>
            <c:v>20 mg/kg</c:v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errBars>
            <c:errBarType val="plus"/>
            <c:errValType val="cust"/>
            <c:noEndCap val="0"/>
            <c:plus>
              <c:numRef>
                <c:f>('IL-6 biomarker'!$E$11,'IL-6 biomarker'!$H$11,'IL-6 biomarker'!$K$11)</c:f>
                <c:numCache>
                  <c:formatCode>General</c:formatCode>
                  <c:ptCount val="3"/>
                  <c:pt idx="0">
                    <c:v>7.7691955825555059</c:v>
                  </c:pt>
                  <c:pt idx="1">
                    <c:v>39.190082929230961</c:v>
                  </c:pt>
                  <c:pt idx="2">
                    <c:v>56.482135228760605</c:v>
                  </c:pt>
                </c:numCache>
              </c:numRef>
            </c:plus>
            <c:minus>
              <c:numLit>
                <c:formatCode>General</c:formatCode>
                <c:ptCount val="1"/>
                <c:pt idx="0">
                  <c:v>1</c:v>
                </c:pt>
              </c:numLit>
            </c:minus>
            <c:spPr>
              <a:noFill/>
              <a:ln w="28575" cap="flat" cmpd="sng" algn="ctr">
                <a:solidFill>
                  <a:schemeClr val="accent3"/>
                </a:solidFill>
                <a:round/>
              </a:ln>
              <a:effectLst/>
            </c:spPr>
          </c:errBars>
          <c:cat>
            <c:numRef>
              <c:f>'IL-6 biomarker'!$F$2:$H$2</c:f>
              <c:numCache>
                <c:formatCode>General</c:formatCode>
                <c:ptCount val="3"/>
                <c:pt idx="0">
                  <c:v>6</c:v>
                </c:pt>
                <c:pt idx="1">
                  <c:v>12</c:v>
                </c:pt>
                <c:pt idx="2">
                  <c:v>24</c:v>
                </c:pt>
              </c:numCache>
            </c:numRef>
          </c:cat>
          <c:val>
            <c:numRef>
              <c:f>('IL-6 biomarker'!$E$10,'IL-6 biomarker'!$H$10,'IL-6 biomarker'!$K$10)</c:f>
              <c:numCache>
                <c:formatCode>0.0</c:formatCode>
                <c:ptCount val="3"/>
                <c:pt idx="0">
                  <c:v>9.7800000000000011</c:v>
                </c:pt>
                <c:pt idx="1">
                  <c:v>70.64</c:v>
                </c:pt>
                <c:pt idx="2">
                  <c:v>128.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297-4E13-A2E7-426D0E1ECA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4"/>
        <c:axId val="640215944"/>
        <c:axId val="640217584"/>
      </c:barChart>
      <c:catAx>
        <c:axId val="64021594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r>
                  <a:rPr lang="en-US" dirty="0"/>
                  <a:t>Time after dosing (h)</a:t>
                </a:r>
              </a:p>
            </c:rich>
          </c:tx>
          <c:layout>
            <c:manualLayout>
              <c:xMode val="edge"/>
              <c:yMode val="edge"/>
              <c:x val="0.40193610776479999"/>
              <c:y val="0.8854165609707491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1587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640217584"/>
        <c:crosses val="autoZero"/>
        <c:auto val="1"/>
        <c:lblAlgn val="ctr"/>
        <c:lblOffset val="100"/>
        <c:noMultiLvlLbl val="0"/>
      </c:catAx>
      <c:valAx>
        <c:axId val="64021758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r>
                  <a:rPr lang="en-US"/>
                  <a:t>[IL-6] (pg/mg)</a:t>
                </a:r>
              </a:p>
            </c:rich>
          </c:tx>
          <c:layout>
            <c:manualLayout>
              <c:xMode val="edge"/>
              <c:yMode val="edge"/>
              <c:x val="9.2387287509238733E-3"/>
              <c:y val="0.1915864433897817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</a:defRPr>
              </a:pPr>
              <a:endParaRPr lang="en-US"/>
            </a:p>
          </c:txPr>
        </c:title>
        <c:numFmt formatCode="0.0" sourceLinked="1"/>
        <c:majorTickMark val="none"/>
        <c:minorTickMark val="none"/>
        <c:tickLblPos val="nextTo"/>
        <c:spPr>
          <a:noFill/>
          <a:ln w="15875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6402159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772140402564675"/>
          <c:y val="6.4504166010454403E-2"/>
          <c:w val="0.73840908837444308"/>
          <c:h val="0.70897285906060403"/>
        </c:manualLayout>
      </c:layout>
      <c:barChart>
        <c:barDir val="col"/>
        <c:grouping val="clustered"/>
        <c:varyColors val="0"/>
        <c:ser>
          <c:idx val="0"/>
          <c:order val="0"/>
          <c:tx>
            <c:v>Vehicle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errBars>
            <c:errBarType val="plus"/>
            <c:errValType val="cust"/>
            <c:noEndCap val="0"/>
            <c:plus>
              <c:numRef>
                <c:f>('IL-6 biomarker'!$C$22,'IL-6 biomarker'!$F$22,'IL-6 biomarker'!$I$22)</c:f>
                <c:numCache>
                  <c:formatCode>General</c:formatCode>
                  <c:ptCount val="3"/>
                  <c:pt idx="0">
                    <c:v>55.227623523016071</c:v>
                  </c:pt>
                  <c:pt idx="1">
                    <c:v>145.24193058480051</c:v>
                  </c:pt>
                  <c:pt idx="2">
                    <c:v>104.52542944183486</c:v>
                  </c:pt>
                </c:numCache>
              </c:numRef>
            </c:plus>
            <c:minus>
              <c:numLit>
                <c:formatCode>General</c:formatCode>
                <c:ptCount val="1"/>
                <c:pt idx="0">
                  <c:v>1</c:v>
                </c:pt>
              </c:numLit>
            </c:minus>
            <c:spPr>
              <a:noFill/>
              <a:ln w="28575" cap="flat" cmpd="sng" algn="ctr">
                <a:solidFill>
                  <a:schemeClr val="accent1"/>
                </a:solidFill>
                <a:round/>
              </a:ln>
              <a:effectLst/>
            </c:spPr>
          </c:errBars>
          <c:cat>
            <c:numRef>
              <c:f>'IL-6 biomarker'!$F$2:$H$2</c:f>
              <c:numCache>
                <c:formatCode>General</c:formatCode>
                <c:ptCount val="3"/>
                <c:pt idx="0">
                  <c:v>6</c:v>
                </c:pt>
                <c:pt idx="1">
                  <c:v>12</c:v>
                </c:pt>
                <c:pt idx="2">
                  <c:v>24</c:v>
                </c:pt>
              </c:numCache>
            </c:numRef>
          </c:cat>
          <c:val>
            <c:numRef>
              <c:f>('IL-6 biomarker'!$C$21,'IL-6 biomarker'!$F$21,'IL-6 biomarker'!$I$21)</c:f>
              <c:numCache>
                <c:formatCode>General</c:formatCode>
                <c:ptCount val="3"/>
                <c:pt idx="0">
                  <c:v>410.38</c:v>
                </c:pt>
                <c:pt idx="1">
                  <c:v>691.98</c:v>
                </c:pt>
                <c:pt idx="2">
                  <c:v>469.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79-4B2B-8196-793C213976B8}"/>
            </c:ext>
          </c:extLst>
        </c:ser>
        <c:ser>
          <c:idx val="1"/>
          <c:order val="1"/>
          <c:tx>
            <c:v>5 mg/kg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errBars>
            <c:errBarType val="plus"/>
            <c:errValType val="cust"/>
            <c:noEndCap val="0"/>
            <c:plus>
              <c:numRef>
                <c:f>('IL-6 biomarker'!$D$22,'IL-6 biomarker'!$G$22,'IL-6 biomarker'!$J$22)</c:f>
                <c:numCache>
                  <c:formatCode>General</c:formatCode>
                  <c:ptCount val="3"/>
                  <c:pt idx="0">
                    <c:v>57.907120460268118</c:v>
                  </c:pt>
                  <c:pt idx="1">
                    <c:v>68.857044665016005</c:v>
                  </c:pt>
                  <c:pt idx="2">
                    <c:v>134.21433455484552</c:v>
                  </c:pt>
                </c:numCache>
              </c:numRef>
            </c:plus>
            <c:minus>
              <c:numLit>
                <c:formatCode>General</c:formatCode>
                <c:ptCount val="1"/>
                <c:pt idx="0">
                  <c:v>1</c:v>
                </c:pt>
              </c:numLit>
            </c:minus>
            <c:spPr>
              <a:noFill/>
              <a:ln w="28575" cap="flat" cmpd="sng" algn="ctr">
                <a:solidFill>
                  <a:schemeClr val="accent2"/>
                </a:solidFill>
                <a:round/>
              </a:ln>
              <a:effectLst/>
            </c:spPr>
          </c:errBars>
          <c:cat>
            <c:numRef>
              <c:f>'IL-6 biomarker'!$F$2:$H$2</c:f>
              <c:numCache>
                <c:formatCode>General</c:formatCode>
                <c:ptCount val="3"/>
                <c:pt idx="0">
                  <c:v>6</c:v>
                </c:pt>
                <c:pt idx="1">
                  <c:v>12</c:v>
                </c:pt>
                <c:pt idx="2">
                  <c:v>24</c:v>
                </c:pt>
              </c:numCache>
            </c:numRef>
          </c:cat>
          <c:val>
            <c:numRef>
              <c:f>('IL-6 biomarker'!$D$21,'IL-6 biomarker'!$G$21,'IL-6 biomarker'!$J$21)</c:f>
              <c:numCache>
                <c:formatCode>General</c:formatCode>
                <c:ptCount val="3"/>
                <c:pt idx="0">
                  <c:v>246.45999999999998</c:v>
                </c:pt>
                <c:pt idx="1">
                  <c:v>500.16</c:v>
                </c:pt>
                <c:pt idx="2">
                  <c:v>264.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479-4B2B-8196-793C213976B8}"/>
            </c:ext>
          </c:extLst>
        </c:ser>
        <c:ser>
          <c:idx val="2"/>
          <c:order val="2"/>
          <c:tx>
            <c:v>20 mg/kg</c:v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errBars>
            <c:errBarType val="plus"/>
            <c:errValType val="cust"/>
            <c:noEndCap val="0"/>
            <c:plus>
              <c:numRef>
                <c:f>('IL-6 biomarker'!$E$22,'IL-6 biomarker'!$H$22,'IL-6 biomarker'!$K$22)</c:f>
                <c:numCache>
                  <c:formatCode>General</c:formatCode>
                  <c:ptCount val="3"/>
                  <c:pt idx="0">
                    <c:v>16.156224806556757</c:v>
                  </c:pt>
                  <c:pt idx="1">
                    <c:v>61.405835227606829</c:v>
                  </c:pt>
                  <c:pt idx="2">
                    <c:v>88.004615172538919</c:v>
                  </c:pt>
                </c:numCache>
              </c:numRef>
            </c:plus>
            <c:minus>
              <c:numLit>
                <c:formatCode>General</c:formatCode>
                <c:ptCount val="1"/>
                <c:pt idx="0">
                  <c:v>1</c:v>
                </c:pt>
              </c:numLit>
            </c:minus>
            <c:spPr>
              <a:noFill/>
              <a:ln w="28575" cap="flat" cmpd="sng" algn="ctr">
                <a:solidFill>
                  <a:schemeClr val="accent3"/>
                </a:solidFill>
                <a:round/>
              </a:ln>
              <a:effectLst/>
            </c:spPr>
          </c:errBars>
          <c:cat>
            <c:numRef>
              <c:f>'IL-6 biomarker'!$F$2:$H$2</c:f>
              <c:numCache>
                <c:formatCode>General</c:formatCode>
                <c:ptCount val="3"/>
                <c:pt idx="0">
                  <c:v>6</c:v>
                </c:pt>
                <c:pt idx="1">
                  <c:v>12</c:v>
                </c:pt>
                <c:pt idx="2">
                  <c:v>24</c:v>
                </c:pt>
              </c:numCache>
            </c:numRef>
          </c:cat>
          <c:val>
            <c:numRef>
              <c:f>('IL-6 biomarker'!$E$21,'IL-6 biomarker'!$H$21,'IL-6 biomarker'!$K$21)</c:f>
              <c:numCache>
                <c:formatCode>General</c:formatCode>
                <c:ptCount val="3"/>
                <c:pt idx="0">
                  <c:v>25.339999999999996</c:v>
                </c:pt>
                <c:pt idx="1">
                  <c:v>192.85999999999999</c:v>
                </c:pt>
                <c:pt idx="2">
                  <c:v>251.374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479-4B2B-8196-793C213976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4"/>
        <c:axId val="640215944"/>
        <c:axId val="640217584"/>
      </c:barChart>
      <c:catAx>
        <c:axId val="64021594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r>
                  <a:rPr lang="en-US"/>
                  <a:t>Time after dosing (h)</a:t>
                </a:r>
              </a:p>
            </c:rich>
          </c:tx>
          <c:layout>
            <c:manualLayout>
              <c:xMode val="edge"/>
              <c:yMode val="edge"/>
              <c:x val="0.34331243299437963"/>
              <c:y val="0.880515745344642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1587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640217584"/>
        <c:crosses val="autoZero"/>
        <c:auto val="1"/>
        <c:lblAlgn val="ctr"/>
        <c:lblOffset val="100"/>
        <c:noMultiLvlLbl val="0"/>
      </c:catAx>
      <c:valAx>
        <c:axId val="64021758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r>
                  <a:rPr lang="en-US"/>
                  <a:t>[IL-6] (pg/mL)</a:t>
                </a:r>
              </a:p>
            </c:rich>
          </c:tx>
          <c:layout>
            <c:manualLayout>
              <c:xMode val="edge"/>
              <c:yMode val="edge"/>
              <c:x val="3.0143376874763313E-2"/>
              <c:y val="0.2312886883439915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15875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6402159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0893</cdr:x>
      <cdr:y>0.5812</cdr:y>
    </cdr:from>
    <cdr:to>
      <cdr:x>0.75246</cdr:x>
      <cdr:y>0.66431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75A75BFA-0C64-4619-9E8E-715C50734D62}"/>
            </a:ext>
          </a:extLst>
        </cdr:cNvPr>
        <cdr:cNvSpPr txBox="1"/>
      </cdr:nvSpPr>
      <cdr:spPr>
        <a:xfrm xmlns:a="http://schemas.openxmlformats.org/drawingml/2006/main">
          <a:off x="2940746" y="1212803"/>
          <a:ext cx="180547" cy="173431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100" dirty="0"/>
            <a:t>*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27764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71191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35736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94D7DD-D559-3D46-9558-5F3BE50099BF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1975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1" preserve="1">
  <p:cSld name="1_Title slide 1">
    <p:bg>
      <p:bgPr>
        <a:solidFill>
          <a:srgbClr val="051440"/>
        </a:solidFill>
        <a:effectLst/>
      </p:bgPr>
    </p:bg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7"/>
          <p:cNvSpPr txBox="1">
            <a:spLocks noGrp="1"/>
          </p:cNvSpPr>
          <p:nvPr>
            <p:ph type="ctrTitle"/>
          </p:nvPr>
        </p:nvSpPr>
        <p:spPr>
          <a:xfrm>
            <a:off x="538875" y="547300"/>
            <a:ext cx="4858200" cy="2631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400"/>
              <a:buNone/>
              <a:defRPr sz="54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 dirty="0"/>
          </a:p>
        </p:txBody>
      </p:sp>
      <p:sp>
        <p:nvSpPr>
          <p:cNvPr id="40" name="Google Shape;40;p7"/>
          <p:cNvSpPr txBox="1">
            <a:spLocks noGrp="1"/>
          </p:cNvSpPr>
          <p:nvPr>
            <p:ph type="subTitle" idx="1"/>
          </p:nvPr>
        </p:nvSpPr>
        <p:spPr>
          <a:xfrm>
            <a:off x="538875" y="4316287"/>
            <a:ext cx="4858200" cy="792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F6236"/>
              </a:buClr>
              <a:buSzPts val="2200"/>
              <a:buNone/>
              <a:defRPr sz="2200" b="1">
                <a:solidFill>
                  <a:srgbClr val="DF6236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pic>
        <p:nvPicPr>
          <p:cNvPr id="42" name="Google Shape;42;p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74225" y="186475"/>
            <a:ext cx="3669775" cy="4770550"/>
          </a:xfrm>
          <a:prstGeom prst="rect">
            <a:avLst/>
          </a:prstGeom>
          <a:noFill/>
          <a:ln>
            <a:noFill/>
          </a:ln>
        </p:spPr>
      </p:pic>
      <p:pic>
        <p:nvPicPr>
          <p:cNvPr id="43" name="Google Shape;43;p7"/>
          <p:cNvPicPr preferRelativeResize="0">
            <a:picLocks noChangeAspect="1"/>
          </p:cNvPicPr>
          <p:nvPr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8875" y="547300"/>
            <a:ext cx="4480560" cy="1201343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9A7075C-C8DA-411F-A593-F6DF7CF00017}"/>
              </a:ext>
            </a:extLst>
          </p:cNvPr>
          <p:cNvSpPr txBox="1"/>
          <p:nvPr userDrawn="1"/>
        </p:nvSpPr>
        <p:spPr>
          <a:xfrm>
            <a:off x="3661172" y="4527921"/>
            <a:ext cx="18216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F6236"/>
              </a:buClr>
              <a:buSzPts val="2200"/>
              <a:buFont typeface="Calibri"/>
              <a:buNone/>
              <a:tabLst/>
              <a:defRPr/>
            </a:pP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591744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A7A697-CB30-F34E-B322-202B625E22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AC3DAF1-680D-F64B-9EDA-D9CFE48114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1E55DF-1A66-2A43-A8D0-6F96B64BD8B1}" type="datetime1">
              <a:rPr lang="en-US" smtClean="0"/>
              <a:t>6/3/22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580F99-3F69-0F43-8448-CF39F1DADA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62F57E-D50A-8745-B86B-43059DFC38B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848F561-E9E3-2945-BC91-8CEC0734C61B}"/>
              </a:ext>
            </a:extLst>
          </p:cNvPr>
          <p:cNvSpPr/>
          <p:nvPr userDrawn="1"/>
        </p:nvSpPr>
        <p:spPr>
          <a:xfrm>
            <a:off x="440756" y="919865"/>
            <a:ext cx="8262489" cy="34289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/>
          </a:p>
        </p:txBody>
      </p:sp>
    </p:spTree>
    <p:extLst>
      <p:ext uri="{BB962C8B-B14F-4D97-AF65-F5344CB8AC3E}">
        <p14:creationId xmlns:p14="http://schemas.microsoft.com/office/powerpoint/2010/main" val="26907063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nter headline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4611825"/>
            <a:ext cx="6675120" cy="317364"/>
          </a:xfrm>
        </p:spPr>
        <p:txBody>
          <a:bodyPr anchor="b" anchorCtr="0">
            <a:spAutoFit/>
          </a:bodyPr>
          <a:lstStyle>
            <a:lvl1pPr marL="128588" indent="-128588">
              <a:buNone/>
              <a:defRPr sz="750" baseline="0"/>
            </a:lvl1pPr>
            <a:lvl2pPr marL="171450" indent="0">
              <a:buNone/>
              <a:defRPr sz="675"/>
            </a:lvl2pPr>
            <a:lvl3pPr marL="342900" indent="0">
              <a:buNone/>
              <a:defRPr sz="675"/>
            </a:lvl3pPr>
            <a:lvl4pPr marL="514350" indent="0">
              <a:buNone/>
              <a:defRPr sz="675"/>
            </a:lvl4pPr>
            <a:lvl5pPr marL="685800" indent="0">
              <a:buNone/>
              <a:defRPr sz="675"/>
            </a:lvl5pPr>
          </a:lstStyle>
          <a:p>
            <a:pPr lvl="0"/>
            <a:r>
              <a:rPr lang="en-US" dirty="0"/>
              <a:t>Click here to enter footnotes/sources</a:t>
            </a:r>
          </a:p>
        </p:txBody>
      </p:sp>
    </p:spTree>
    <p:extLst>
      <p:ext uri="{BB962C8B-B14F-4D97-AF65-F5344CB8AC3E}">
        <p14:creationId xmlns:p14="http://schemas.microsoft.com/office/powerpoint/2010/main" val="17317722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1" preserve="1">
  <p:cSld name="1_Title slide 1">
    <p:bg>
      <p:bgPr>
        <a:solidFill>
          <a:srgbClr val="051440"/>
        </a:solidFill>
        <a:effectLst/>
      </p:bgPr>
    </p:bg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23BE22D-152A-4108-AA79-07B7562A5A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602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23BE22D-152A-4108-AA79-07B7562A5A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2" name="Google Shape;42;p7"/>
          <p:cNvPicPr preferRelativeResize="0">
            <a:picLocks noChangeAspect="1"/>
          </p:cNvPicPr>
          <p:nvPr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19100" y="14412"/>
            <a:ext cx="5524900" cy="5114676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A994F35-21E4-4EC4-BA2E-A8048FB846E9}"/>
              </a:ext>
            </a:extLst>
          </p:cNvPr>
          <p:cNvSpPr/>
          <p:nvPr userDrawn="1"/>
        </p:nvSpPr>
        <p:spPr>
          <a:xfrm>
            <a:off x="550071" y="1137546"/>
            <a:ext cx="3880483" cy="3240069"/>
          </a:xfrm>
          <a:prstGeom prst="rect">
            <a:avLst/>
          </a:prstGeom>
          <a:solidFill>
            <a:srgbClr val="DF62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9" name="Google Shape;39;p7"/>
          <p:cNvSpPr txBox="1">
            <a:spLocks noGrp="1"/>
          </p:cNvSpPr>
          <p:nvPr>
            <p:ph type="ctrTitle"/>
          </p:nvPr>
        </p:nvSpPr>
        <p:spPr>
          <a:xfrm>
            <a:off x="801212" y="1424808"/>
            <a:ext cx="3378201" cy="2086100"/>
          </a:xfrm>
          <a:prstGeom prst="rect">
            <a:avLst/>
          </a:prstGeom>
        </p:spPr>
        <p:txBody>
          <a:bodyPr spcFirstLastPara="1" wrap="square" lIns="0" tIns="0" rIns="0" bIns="0" anchor="b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400"/>
              <a:buNone/>
              <a:defRPr sz="5400">
                <a:solidFill>
                  <a:srgbClr val="FFFFFF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 dirty="0"/>
          </a:p>
        </p:txBody>
      </p:sp>
      <p:sp>
        <p:nvSpPr>
          <p:cNvPr id="40" name="Google Shape;40;p7"/>
          <p:cNvSpPr txBox="1">
            <a:spLocks noGrp="1"/>
          </p:cNvSpPr>
          <p:nvPr>
            <p:ph type="subTitle" idx="1"/>
          </p:nvPr>
        </p:nvSpPr>
        <p:spPr>
          <a:xfrm>
            <a:off x="1126324" y="3655854"/>
            <a:ext cx="2727976" cy="338554"/>
          </a:xfrm>
          <a:prstGeom prst="rect">
            <a:avLst/>
          </a:prstGeom>
        </p:spPr>
        <p:txBody>
          <a:bodyPr spcFirstLastPara="1" wrap="square" lIns="0" tIns="0" rIns="0" bIns="0" anchor="ctr" anchorCtr="0">
            <a:sp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F6236"/>
              </a:buClr>
              <a:buSzPts val="2200"/>
              <a:buNone/>
              <a:defRPr sz="2200" b="1">
                <a:solidFill>
                  <a:schemeClr val="bg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 dirty="0"/>
          </a:p>
        </p:txBody>
      </p:sp>
      <p:pic>
        <p:nvPicPr>
          <p:cNvPr id="43" name="Google Shape;43;p7"/>
          <p:cNvPicPr preferRelativeResize="0"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4704" y="182012"/>
            <a:ext cx="3171217" cy="85027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9A7075C-C8DA-411F-A593-F6DF7CF00017}"/>
              </a:ext>
            </a:extLst>
          </p:cNvPr>
          <p:cNvSpPr txBox="1"/>
          <p:nvPr userDrawn="1"/>
        </p:nvSpPr>
        <p:spPr>
          <a:xfrm>
            <a:off x="3661172" y="4527921"/>
            <a:ext cx="18216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F6236"/>
              </a:buClr>
              <a:buSzPts val="2200"/>
              <a:buFont typeface="Calibri"/>
              <a:buNone/>
              <a:tabLst/>
              <a:defRPr/>
            </a:pP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Confidential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AAF7478-4F56-4526-8B86-99B9769511D1}"/>
              </a:ext>
            </a:extLst>
          </p:cNvPr>
          <p:cNvGrpSpPr/>
          <p:nvPr userDrawn="1"/>
        </p:nvGrpSpPr>
        <p:grpSpPr>
          <a:xfrm>
            <a:off x="335751" y="4024756"/>
            <a:ext cx="499006" cy="503165"/>
            <a:chOff x="810734" y="4142525"/>
            <a:chExt cx="681467" cy="687147"/>
          </a:xfrm>
          <a:solidFill>
            <a:schemeClr val="bg1"/>
          </a:solidFill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3A5315EE-30CC-4E3A-BD1C-03E84A8D97E2}"/>
                </a:ext>
              </a:extLst>
            </p:cNvPr>
            <p:cNvSpPr/>
            <p:nvPr userDrawn="1"/>
          </p:nvSpPr>
          <p:spPr>
            <a:xfrm>
              <a:off x="810734" y="4142525"/>
              <a:ext cx="64508" cy="6450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F6AC0DC5-F908-41B2-897D-7824C29C31D9}"/>
                </a:ext>
              </a:extLst>
            </p:cNvPr>
            <p:cNvSpPr/>
            <p:nvPr userDrawn="1"/>
          </p:nvSpPr>
          <p:spPr>
            <a:xfrm>
              <a:off x="934126" y="4142525"/>
              <a:ext cx="64508" cy="6450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3118C5EE-4BC3-4640-A1E1-0D6C98BD9538}"/>
                </a:ext>
              </a:extLst>
            </p:cNvPr>
            <p:cNvSpPr/>
            <p:nvPr userDrawn="1"/>
          </p:nvSpPr>
          <p:spPr>
            <a:xfrm>
              <a:off x="1057517" y="4142525"/>
              <a:ext cx="64508" cy="6450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C54BD4D2-1E41-4F38-A70C-137B876C669B}"/>
                </a:ext>
              </a:extLst>
            </p:cNvPr>
            <p:cNvSpPr/>
            <p:nvPr userDrawn="1"/>
          </p:nvSpPr>
          <p:spPr>
            <a:xfrm>
              <a:off x="1304300" y="4142525"/>
              <a:ext cx="64508" cy="6450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8DC540E1-49E1-4DC3-A8FC-C26B323F867C}"/>
                </a:ext>
              </a:extLst>
            </p:cNvPr>
            <p:cNvSpPr/>
            <p:nvPr userDrawn="1"/>
          </p:nvSpPr>
          <p:spPr>
            <a:xfrm>
              <a:off x="1180909" y="4142525"/>
              <a:ext cx="64508" cy="6450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9C89DFF-537C-48C2-998E-3208C5BC0353}"/>
                </a:ext>
              </a:extLst>
            </p:cNvPr>
            <p:cNvSpPr/>
            <p:nvPr userDrawn="1"/>
          </p:nvSpPr>
          <p:spPr>
            <a:xfrm>
              <a:off x="1427693" y="4142525"/>
              <a:ext cx="64508" cy="6450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11F28ED-C419-4156-8591-70454DD37325}"/>
                </a:ext>
              </a:extLst>
            </p:cNvPr>
            <p:cNvSpPr/>
            <p:nvPr userDrawn="1"/>
          </p:nvSpPr>
          <p:spPr>
            <a:xfrm>
              <a:off x="810734" y="4267053"/>
              <a:ext cx="64508" cy="6450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88C5618E-8F6E-497A-B984-B261340DD358}"/>
                </a:ext>
              </a:extLst>
            </p:cNvPr>
            <p:cNvSpPr/>
            <p:nvPr userDrawn="1"/>
          </p:nvSpPr>
          <p:spPr>
            <a:xfrm>
              <a:off x="934126" y="4267053"/>
              <a:ext cx="64508" cy="6450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F7789502-8B3D-42BC-B55A-0F59CCF2CE0F}"/>
                </a:ext>
              </a:extLst>
            </p:cNvPr>
            <p:cNvSpPr/>
            <p:nvPr userDrawn="1"/>
          </p:nvSpPr>
          <p:spPr>
            <a:xfrm>
              <a:off x="1057517" y="4267053"/>
              <a:ext cx="64508" cy="6450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1B3D0607-06F9-457E-B086-7BF13D579599}"/>
                </a:ext>
              </a:extLst>
            </p:cNvPr>
            <p:cNvSpPr/>
            <p:nvPr userDrawn="1"/>
          </p:nvSpPr>
          <p:spPr>
            <a:xfrm>
              <a:off x="1304300" y="4267053"/>
              <a:ext cx="64508" cy="6450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47741FC2-26A7-47DC-844A-FBC23304BE12}"/>
                </a:ext>
              </a:extLst>
            </p:cNvPr>
            <p:cNvSpPr/>
            <p:nvPr userDrawn="1"/>
          </p:nvSpPr>
          <p:spPr>
            <a:xfrm>
              <a:off x="1180909" y="4267053"/>
              <a:ext cx="64508" cy="6450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E462C4D4-505F-482C-9508-89282005CDB5}"/>
                </a:ext>
              </a:extLst>
            </p:cNvPr>
            <p:cNvSpPr/>
            <p:nvPr userDrawn="1"/>
          </p:nvSpPr>
          <p:spPr>
            <a:xfrm>
              <a:off x="1427693" y="4267053"/>
              <a:ext cx="64508" cy="6450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2190591-CC46-4587-B9C8-31A4653074E1}"/>
                </a:ext>
              </a:extLst>
            </p:cNvPr>
            <p:cNvSpPr/>
            <p:nvPr userDrawn="1"/>
          </p:nvSpPr>
          <p:spPr>
            <a:xfrm>
              <a:off x="810734" y="4391580"/>
              <a:ext cx="64508" cy="6450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A6BF9794-3267-40FA-A68D-AED6D31B054C}"/>
                </a:ext>
              </a:extLst>
            </p:cNvPr>
            <p:cNvSpPr/>
            <p:nvPr userDrawn="1"/>
          </p:nvSpPr>
          <p:spPr>
            <a:xfrm>
              <a:off x="934126" y="4391580"/>
              <a:ext cx="64508" cy="6450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4A6A4643-5886-4820-A65F-DEABAB569C61}"/>
                </a:ext>
              </a:extLst>
            </p:cNvPr>
            <p:cNvSpPr/>
            <p:nvPr userDrawn="1"/>
          </p:nvSpPr>
          <p:spPr>
            <a:xfrm>
              <a:off x="1057517" y="4391580"/>
              <a:ext cx="64508" cy="6450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C1A5006C-2FE3-44E6-AAAD-477514F6129A}"/>
                </a:ext>
              </a:extLst>
            </p:cNvPr>
            <p:cNvSpPr/>
            <p:nvPr userDrawn="1"/>
          </p:nvSpPr>
          <p:spPr>
            <a:xfrm>
              <a:off x="1304300" y="4391580"/>
              <a:ext cx="64508" cy="6450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02E91988-5A11-4B19-8A0F-4B1F243C9996}"/>
                </a:ext>
              </a:extLst>
            </p:cNvPr>
            <p:cNvSpPr/>
            <p:nvPr userDrawn="1"/>
          </p:nvSpPr>
          <p:spPr>
            <a:xfrm>
              <a:off x="1180909" y="4391580"/>
              <a:ext cx="64508" cy="6450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37A7238D-EF76-472D-BF7E-63F91808DF2E}"/>
                </a:ext>
              </a:extLst>
            </p:cNvPr>
            <p:cNvSpPr/>
            <p:nvPr userDrawn="1"/>
          </p:nvSpPr>
          <p:spPr>
            <a:xfrm>
              <a:off x="1427693" y="4391580"/>
              <a:ext cx="64508" cy="6450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D997F7F4-CAF4-4847-B593-D02A972791E8}"/>
                </a:ext>
              </a:extLst>
            </p:cNvPr>
            <p:cNvSpPr/>
            <p:nvPr userDrawn="1"/>
          </p:nvSpPr>
          <p:spPr>
            <a:xfrm>
              <a:off x="810734" y="4516108"/>
              <a:ext cx="64508" cy="6450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AB344CED-D92B-49F3-AAB8-9CF62A1F2CD0}"/>
                </a:ext>
              </a:extLst>
            </p:cNvPr>
            <p:cNvSpPr/>
            <p:nvPr userDrawn="1"/>
          </p:nvSpPr>
          <p:spPr>
            <a:xfrm>
              <a:off x="934126" y="4516108"/>
              <a:ext cx="64508" cy="6450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D78EF06F-9F96-4AED-A723-13DD2EFD8E7F}"/>
                </a:ext>
              </a:extLst>
            </p:cNvPr>
            <p:cNvSpPr/>
            <p:nvPr userDrawn="1"/>
          </p:nvSpPr>
          <p:spPr>
            <a:xfrm>
              <a:off x="1057517" y="4516108"/>
              <a:ext cx="64508" cy="6450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7F75576-18F2-4347-8238-8D2E838CBBB2}"/>
                </a:ext>
              </a:extLst>
            </p:cNvPr>
            <p:cNvSpPr/>
            <p:nvPr userDrawn="1"/>
          </p:nvSpPr>
          <p:spPr>
            <a:xfrm>
              <a:off x="1304300" y="4516108"/>
              <a:ext cx="64508" cy="6450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977E3FB2-9201-4016-B852-EF02B744C6A9}"/>
                </a:ext>
              </a:extLst>
            </p:cNvPr>
            <p:cNvSpPr/>
            <p:nvPr userDrawn="1"/>
          </p:nvSpPr>
          <p:spPr>
            <a:xfrm>
              <a:off x="1180909" y="4516108"/>
              <a:ext cx="64508" cy="6450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5F6D17F8-111C-44FE-86E4-2C6F2FC9F308}"/>
                </a:ext>
              </a:extLst>
            </p:cNvPr>
            <p:cNvSpPr/>
            <p:nvPr userDrawn="1"/>
          </p:nvSpPr>
          <p:spPr>
            <a:xfrm>
              <a:off x="1427693" y="4516108"/>
              <a:ext cx="64508" cy="6450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3165139E-2ED8-4C4B-A6DC-8BB33428267A}"/>
                </a:ext>
              </a:extLst>
            </p:cNvPr>
            <p:cNvSpPr/>
            <p:nvPr userDrawn="1"/>
          </p:nvSpPr>
          <p:spPr>
            <a:xfrm>
              <a:off x="810734" y="4640636"/>
              <a:ext cx="64508" cy="6450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FF252FE8-17F0-429F-9DA4-079ED5F74894}"/>
                </a:ext>
              </a:extLst>
            </p:cNvPr>
            <p:cNvSpPr/>
            <p:nvPr userDrawn="1"/>
          </p:nvSpPr>
          <p:spPr>
            <a:xfrm>
              <a:off x="934126" y="4640636"/>
              <a:ext cx="64508" cy="6450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26ED0EBA-08E3-4A1A-B9A5-B3D89C90A6E2}"/>
                </a:ext>
              </a:extLst>
            </p:cNvPr>
            <p:cNvSpPr/>
            <p:nvPr userDrawn="1"/>
          </p:nvSpPr>
          <p:spPr>
            <a:xfrm>
              <a:off x="1057517" y="4640636"/>
              <a:ext cx="64508" cy="6450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AC3111F5-94D1-4DF1-86CF-0687D0A7DE60}"/>
                </a:ext>
              </a:extLst>
            </p:cNvPr>
            <p:cNvSpPr/>
            <p:nvPr userDrawn="1"/>
          </p:nvSpPr>
          <p:spPr>
            <a:xfrm>
              <a:off x="1304300" y="4640636"/>
              <a:ext cx="64508" cy="6450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334EA3D8-D828-40F1-BAD9-8F77F9CECD7C}"/>
                </a:ext>
              </a:extLst>
            </p:cNvPr>
            <p:cNvSpPr/>
            <p:nvPr userDrawn="1"/>
          </p:nvSpPr>
          <p:spPr>
            <a:xfrm>
              <a:off x="1180909" y="4640636"/>
              <a:ext cx="64508" cy="6450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E71EE532-39D4-4311-89FC-65CF791386B6}"/>
                </a:ext>
              </a:extLst>
            </p:cNvPr>
            <p:cNvSpPr/>
            <p:nvPr userDrawn="1"/>
          </p:nvSpPr>
          <p:spPr>
            <a:xfrm>
              <a:off x="1427693" y="4640636"/>
              <a:ext cx="64508" cy="6450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A33ACA62-F6FA-4455-9A96-143CE0766E0E}"/>
                </a:ext>
              </a:extLst>
            </p:cNvPr>
            <p:cNvSpPr/>
            <p:nvPr userDrawn="1"/>
          </p:nvSpPr>
          <p:spPr>
            <a:xfrm>
              <a:off x="810734" y="4765164"/>
              <a:ext cx="64508" cy="6450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A995325B-8310-4941-A39E-E1474344D389}"/>
                </a:ext>
              </a:extLst>
            </p:cNvPr>
            <p:cNvSpPr/>
            <p:nvPr userDrawn="1"/>
          </p:nvSpPr>
          <p:spPr>
            <a:xfrm>
              <a:off x="934126" y="4765164"/>
              <a:ext cx="64508" cy="6450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35CAA086-B986-453F-8FF9-BD2F9B13EC9A}"/>
                </a:ext>
              </a:extLst>
            </p:cNvPr>
            <p:cNvSpPr/>
            <p:nvPr userDrawn="1"/>
          </p:nvSpPr>
          <p:spPr>
            <a:xfrm>
              <a:off x="1057517" y="4765164"/>
              <a:ext cx="64508" cy="6450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4DA4341B-9B5E-454F-B577-13884E9910D5}"/>
                </a:ext>
              </a:extLst>
            </p:cNvPr>
            <p:cNvSpPr/>
            <p:nvPr userDrawn="1"/>
          </p:nvSpPr>
          <p:spPr>
            <a:xfrm>
              <a:off x="1304300" y="4765164"/>
              <a:ext cx="64508" cy="6450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A06B173C-3346-4079-98BF-5FC9CF6F0835}"/>
                </a:ext>
              </a:extLst>
            </p:cNvPr>
            <p:cNvSpPr/>
            <p:nvPr userDrawn="1"/>
          </p:nvSpPr>
          <p:spPr>
            <a:xfrm>
              <a:off x="1180909" y="4765164"/>
              <a:ext cx="64508" cy="6450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93A989E3-E51E-4CD0-B8E5-3DCFE511924D}"/>
                </a:ext>
              </a:extLst>
            </p:cNvPr>
            <p:cNvSpPr/>
            <p:nvPr userDrawn="1"/>
          </p:nvSpPr>
          <p:spPr>
            <a:xfrm>
              <a:off x="1427693" y="4765164"/>
              <a:ext cx="64508" cy="6450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5750360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 6">
  <p:cSld name="TITLE_AND_BODY_6"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Google Shape;56;p9"/>
          <p:cNvGraphicFramePr/>
          <p:nvPr/>
        </p:nvGraphicFramePr>
        <p:xfrm>
          <a:off x="318945" y="1138124"/>
          <a:ext cx="3665425" cy="3414800"/>
        </p:xfrm>
        <a:graphic>
          <a:graphicData uri="http://schemas.openxmlformats.org/drawingml/2006/table">
            <a:tbl>
              <a:tblPr>
                <a:noFill/>
                <a:tableStyleId>{E2FE123F-CB1A-46C3-883C-E0465DE1C88C}</a:tableStyleId>
              </a:tblPr>
              <a:tblGrid>
                <a:gridCol w="36654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6457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dirty="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solidFill>
                      <a:srgbClr val="3163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5022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dirty="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57" name="Google Shape;57;p9"/>
          <p:cNvSpPr/>
          <p:nvPr/>
        </p:nvSpPr>
        <p:spPr>
          <a:xfrm>
            <a:off x="-25" y="0"/>
            <a:ext cx="9144000" cy="774600"/>
          </a:xfrm>
          <a:prstGeom prst="rect">
            <a:avLst/>
          </a:prstGeom>
          <a:solidFill>
            <a:srgbClr val="05144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rgbClr val="04143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" name="Google Shape;58;p9"/>
          <p:cNvSpPr txBox="1">
            <a:spLocks noGrp="1"/>
          </p:cNvSpPr>
          <p:nvPr>
            <p:ph type="title"/>
          </p:nvPr>
        </p:nvSpPr>
        <p:spPr>
          <a:xfrm>
            <a:off x="159311" y="100951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500"/>
              <a:buFont typeface="Calibri"/>
              <a:buNone/>
              <a:defRPr sz="250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59" name="Google Shape;59;p9"/>
          <p:cNvSpPr txBox="1">
            <a:spLocks noGrp="1"/>
          </p:cNvSpPr>
          <p:nvPr>
            <p:ph type="body" idx="1"/>
          </p:nvPr>
        </p:nvSpPr>
        <p:spPr>
          <a:xfrm>
            <a:off x="508000" y="1702700"/>
            <a:ext cx="3476400" cy="2850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51440"/>
              </a:buClr>
              <a:buSzPts val="1400"/>
              <a:buFont typeface="Calibri"/>
              <a:buChar char="●"/>
              <a:defRPr sz="1400"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48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051440"/>
              </a:buClr>
              <a:buSzPts val="1200"/>
              <a:buFont typeface="Calibri"/>
              <a:buChar char="○"/>
              <a:defRPr sz="1200"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921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316399"/>
              </a:buClr>
              <a:buSzPts val="1000"/>
              <a:buFont typeface="Calibri"/>
              <a:buChar char="■"/>
              <a:defRPr sz="1000" i="1">
                <a:solidFill>
                  <a:srgbClr val="316399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2921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051440"/>
              </a:buClr>
              <a:buSzPts val="1000"/>
              <a:buFont typeface="Calibri"/>
              <a:buChar char="●"/>
              <a:defRPr sz="1000"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2921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051440"/>
              </a:buClr>
              <a:buSzPts val="1000"/>
              <a:buFont typeface="Calibri"/>
              <a:buChar char="○"/>
              <a:defRPr sz="1000"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2921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051440"/>
              </a:buClr>
              <a:buSzPts val="1000"/>
              <a:buFont typeface="Calibri"/>
              <a:buChar char="■"/>
              <a:defRPr sz="1000"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2921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051440"/>
              </a:buClr>
              <a:buSzPts val="1000"/>
              <a:buFont typeface="Calibri"/>
              <a:buChar char="●"/>
              <a:defRPr sz="1000"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2921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051440"/>
              </a:buClr>
              <a:buSzPts val="1000"/>
              <a:buFont typeface="Calibri"/>
              <a:buChar char="○"/>
              <a:defRPr sz="1000"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292100" rtl="0">
              <a:lnSpc>
                <a:spcPct val="115000"/>
              </a:lnSpc>
              <a:spcBef>
                <a:spcPts val="1000"/>
              </a:spcBef>
              <a:spcAft>
                <a:spcPts val="1000"/>
              </a:spcAft>
              <a:buClr>
                <a:srgbClr val="051440"/>
              </a:buClr>
              <a:buSzPts val="1000"/>
              <a:buFont typeface="Calibri"/>
              <a:buChar char="■"/>
              <a:defRPr sz="1000"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pic>
        <p:nvPicPr>
          <p:cNvPr id="61" name="Google Shape;61;p9"/>
          <p:cNvPicPr preferRelativeResize="0"/>
          <p:nvPr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7856" y="4746977"/>
            <a:ext cx="1086249" cy="291375"/>
          </a:xfrm>
          <a:prstGeom prst="rect">
            <a:avLst/>
          </a:prstGeom>
          <a:noFill/>
          <a:ln>
            <a:noFill/>
          </a:ln>
        </p:spPr>
      </p:pic>
      <p:sp>
        <p:nvSpPr>
          <p:cNvPr id="62" name="Google Shape;62;p9"/>
          <p:cNvSpPr txBox="1">
            <a:spLocks noGrp="1"/>
          </p:cNvSpPr>
          <p:nvPr>
            <p:ph type="subTitle" idx="2"/>
          </p:nvPr>
        </p:nvSpPr>
        <p:spPr>
          <a:xfrm>
            <a:off x="318975" y="1118275"/>
            <a:ext cx="3665400" cy="572700"/>
          </a:xfrm>
          <a:prstGeom prst="rect">
            <a:avLst/>
          </a:prstGeom>
        </p:spPr>
        <p:txBody>
          <a:bodyPr spcFirstLastPara="1" wrap="square" lIns="182875" tIns="91425" rIns="182875" bIns="91425" anchor="ctr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alibri"/>
              <a:buNone/>
              <a:defRPr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graphicFrame>
        <p:nvGraphicFramePr>
          <p:cNvPr id="63" name="Google Shape;63;p9"/>
          <p:cNvGraphicFramePr/>
          <p:nvPr/>
        </p:nvGraphicFramePr>
        <p:xfrm>
          <a:off x="5100145" y="1138124"/>
          <a:ext cx="3665425" cy="3414800"/>
        </p:xfrm>
        <a:graphic>
          <a:graphicData uri="http://schemas.openxmlformats.org/drawingml/2006/table">
            <a:tbl>
              <a:tblPr>
                <a:noFill/>
                <a:tableStyleId>{E2FE123F-CB1A-46C3-883C-E0465DE1C88C}</a:tableStyleId>
              </a:tblPr>
              <a:tblGrid>
                <a:gridCol w="36654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6457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dirty="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solidFill>
                      <a:srgbClr val="3163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50225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dirty="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64" name="Google Shape;64;p9"/>
          <p:cNvSpPr txBox="1">
            <a:spLocks noGrp="1"/>
          </p:cNvSpPr>
          <p:nvPr>
            <p:ph type="body" idx="3"/>
          </p:nvPr>
        </p:nvSpPr>
        <p:spPr>
          <a:xfrm>
            <a:off x="5289200" y="1702700"/>
            <a:ext cx="3476400" cy="2850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51440"/>
              </a:buClr>
              <a:buSzPts val="1400"/>
              <a:buFont typeface="Calibri"/>
              <a:buChar char="●"/>
              <a:defRPr sz="1400"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048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051440"/>
              </a:buClr>
              <a:buSzPts val="1200"/>
              <a:buFont typeface="Calibri"/>
              <a:buChar char="○"/>
              <a:defRPr sz="1200"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921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316399"/>
              </a:buClr>
              <a:buSzPts val="1000"/>
              <a:buFont typeface="Calibri"/>
              <a:buChar char="■"/>
              <a:defRPr sz="1000" i="1">
                <a:solidFill>
                  <a:srgbClr val="316399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2921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051440"/>
              </a:buClr>
              <a:buSzPts val="1000"/>
              <a:buFont typeface="Calibri"/>
              <a:buChar char="●"/>
              <a:defRPr sz="1000"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2921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051440"/>
              </a:buClr>
              <a:buSzPts val="1000"/>
              <a:buFont typeface="Calibri"/>
              <a:buChar char="○"/>
              <a:defRPr sz="1000"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2921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051440"/>
              </a:buClr>
              <a:buSzPts val="1000"/>
              <a:buFont typeface="Calibri"/>
              <a:buChar char="■"/>
              <a:defRPr sz="1000"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2921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051440"/>
              </a:buClr>
              <a:buSzPts val="1000"/>
              <a:buFont typeface="Calibri"/>
              <a:buChar char="●"/>
              <a:defRPr sz="1000"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2921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051440"/>
              </a:buClr>
              <a:buSzPts val="1000"/>
              <a:buFont typeface="Calibri"/>
              <a:buChar char="○"/>
              <a:defRPr sz="1000"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292100" rtl="0">
              <a:lnSpc>
                <a:spcPct val="115000"/>
              </a:lnSpc>
              <a:spcBef>
                <a:spcPts val="1000"/>
              </a:spcBef>
              <a:spcAft>
                <a:spcPts val="1000"/>
              </a:spcAft>
              <a:buClr>
                <a:srgbClr val="051440"/>
              </a:buClr>
              <a:buSzPts val="1000"/>
              <a:buFont typeface="Calibri"/>
              <a:buChar char="■"/>
              <a:defRPr sz="1000"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" name="Google Shape;65;p9"/>
          <p:cNvSpPr txBox="1">
            <a:spLocks noGrp="1"/>
          </p:cNvSpPr>
          <p:nvPr>
            <p:ph type="subTitle" idx="4"/>
          </p:nvPr>
        </p:nvSpPr>
        <p:spPr>
          <a:xfrm>
            <a:off x="5100175" y="1118275"/>
            <a:ext cx="3665400" cy="572700"/>
          </a:xfrm>
          <a:prstGeom prst="rect">
            <a:avLst/>
          </a:prstGeom>
        </p:spPr>
        <p:txBody>
          <a:bodyPr spcFirstLastPara="1" wrap="square" lIns="182875" tIns="91425" rIns="182875" bIns="91425" anchor="ctr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alibri"/>
              <a:buNone/>
              <a:defRPr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8;p1">
            <a:extLst>
              <a:ext uri="{FF2B5EF4-FFF2-40B4-BE49-F238E27FC236}">
                <a16:creationId xmlns:a16="http://schemas.microsoft.com/office/drawing/2014/main" id="{59A88FAE-24EC-44F3-86FB-09BBFF2BEC2D}"/>
              </a:ext>
            </a:extLst>
          </p:cNvPr>
          <p:cNvSpPr txBox="1">
            <a:spLocks/>
          </p:cNvSpPr>
          <p:nvPr userDrawn="1"/>
        </p:nvSpPr>
        <p:spPr>
          <a:xfrm>
            <a:off x="0" y="4746977"/>
            <a:ext cx="398445" cy="381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rgbClr val="04143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defRPr>
            </a:lvl1pPr>
            <a:lvl2pPr marR="0"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z="800" smtClean="0"/>
              <a:pPr/>
              <a:t>‹#›</a:t>
            </a:fld>
            <a:endParaRPr lang="en" sz="1050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 3">
  <p:cSld name="TITLE_AND_BODY_3"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8" name="Google Shape;78;p11"/>
          <p:cNvGraphicFramePr/>
          <p:nvPr/>
        </p:nvGraphicFramePr>
        <p:xfrm>
          <a:off x="318945" y="1138124"/>
          <a:ext cx="2751125" cy="3277500"/>
        </p:xfrm>
        <a:graphic>
          <a:graphicData uri="http://schemas.openxmlformats.org/drawingml/2006/table">
            <a:tbl>
              <a:tblPr>
                <a:noFill/>
                <a:tableStyleId>{E2FE123F-CB1A-46C3-883C-E0465DE1C88C}</a:tableStyleId>
              </a:tblPr>
              <a:tblGrid>
                <a:gridCol w="27511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289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dirty="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solidFill>
                      <a:srgbClr val="3163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485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dirty="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79" name="Google Shape;79;p11"/>
          <p:cNvSpPr/>
          <p:nvPr/>
        </p:nvSpPr>
        <p:spPr>
          <a:xfrm>
            <a:off x="-25" y="0"/>
            <a:ext cx="9144000" cy="774600"/>
          </a:xfrm>
          <a:prstGeom prst="rect">
            <a:avLst/>
          </a:prstGeom>
          <a:solidFill>
            <a:srgbClr val="05144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0" name="Google Shape;80;p11"/>
          <p:cNvSpPr txBox="1">
            <a:spLocks noGrp="1"/>
          </p:cNvSpPr>
          <p:nvPr>
            <p:ph type="title"/>
          </p:nvPr>
        </p:nvSpPr>
        <p:spPr>
          <a:xfrm>
            <a:off x="159311" y="100951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500"/>
              <a:buFont typeface="Calibri"/>
              <a:buNone/>
              <a:defRPr sz="250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81" name="Google Shape;81;p11"/>
          <p:cNvSpPr txBox="1">
            <a:spLocks noGrp="1"/>
          </p:cNvSpPr>
          <p:nvPr>
            <p:ph type="body" idx="1"/>
          </p:nvPr>
        </p:nvSpPr>
        <p:spPr>
          <a:xfrm>
            <a:off x="398450" y="1980425"/>
            <a:ext cx="2598900" cy="2172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51440"/>
              </a:buClr>
              <a:buSzPts val="1800"/>
              <a:buFont typeface="Calibri"/>
              <a:buChar char="●"/>
              <a:defRPr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02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051440"/>
              </a:buClr>
              <a:buSzPts val="1600"/>
              <a:buFont typeface="Calibri"/>
              <a:buChar char="○"/>
              <a:defRPr sz="1600"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316399"/>
              </a:buClr>
              <a:buSzPts val="1400"/>
              <a:buFont typeface="Calibri"/>
              <a:buChar char="■"/>
              <a:defRPr i="1">
                <a:solidFill>
                  <a:srgbClr val="316399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175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051440"/>
              </a:buClr>
              <a:buSzPts val="1400"/>
              <a:buFont typeface="Calibri"/>
              <a:buChar char="●"/>
              <a:defRPr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051440"/>
              </a:buClr>
              <a:buSzPts val="1400"/>
              <a:buFont typeface="Calibri"/>
              <a:buChar char="○"/>
              <a:defRPr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175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051440"/>
              </a:buClr>
              <a:buSzPts val="1400"/>
              <a:buFont typeface="Calibri"/>
              <a:buChar char="■"/>
              <a:defRPr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3175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051440"/>
              </a:buClr>
              <a:buSzPts val="1400"/>
              <a:buFont typeface="Calibri"/>
              <a:buChar char="●"/>
              <a:defRPr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3175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051440"/>
              </a:buClr>
              <a:buSzPts val="1400"/>
              <a:buFont typeface="Calibri"/>
              <a:buChar char="○"/>
              <a:defRPr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317500" rtl="0">
              <a:lnSpc>
                <a:spcPct val="115000"/>
              </a:lnSpc>
              <a:spcBef>
                <a:spcPts val="1000"/>
              </a:spcBef>
              <a:spcAft>
                <a:spcPts val="1000"/>
              </a:spcAft>
              <a:buClr>
                <a:srgbClr val="051440"/>
              </a:buClr>
              <a:buSzPts val="1400"/>
              <a:buFont typeface="Calibri"/>
              <a:buChar char="■"/>
              <a:defRPr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83" name="Google Shape;83;p11"/>
          <p:cNvPicPr preferRelativeResize="0"/>
          <p:nvPr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7856" y="4746977"/>
            <a:ext cx="1086249" cy="291375"/>
          </a:xfrm>
          <a:prstGeom prst="rect">
            <a:avLst/>
          </a:prstGeom>
          <a:noFill/>
          <a:ln>
            <a:noFill/>
          </a:ln>
        </p:spPr>
      </p:pic>
      <p:sp>
        <p:nvSpPr>
          <p:cNvPr id="84" name="Google Shape;84;p11"/>
          <p:cNvSpPr txBox="1">
            <a:spLocks noGrp="1"/>
          </p:cNvSpPr>
          <p:nvPr>
            <p:ph type="subTitle" idx="2"/>
          </p:nvPr>
        </p:nvSpPr>
        <p:spPr>
          <a:xfrm>
            <a:off x="318975" y="1118275"/>
            <a:ext cx="2751000" cy="774600"/>
          </a:xfrm>
          <a:prstGeom prst="rect">
            <a:avLst/>
          </a:prstGeom>
        </p:spPr>
        <p:txBody>
          <a:bodyPr spcFirstLastPara="1" wrap="square" lIns="182875" tIns="91425" rIns="182875" bIns="91425" anchor="ctr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alibri"/>
              <a:buNone/>
              <a:defRPr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graphicFrame>
        <p:nvGraphicFramePr>
          <p:cNvPr id="85" name="Google Shape;85;p11"/>
          <p:cNvGraphicFramePr/>
          <p:nvPr/>
        </p:nvGraphicFramePr>
        <p:xfrm>
          <a:off x="3180444" y="1138124"/>
          <a:ext cx="2751125" cy="3277500"/>
        </p:xfrm>
        <a:graphic>
          <a:graphicData uri="http://schemas.openxmlformats.org/drawingml/2006/table">
            <a:tbl>
              <a:tblPr>
                <a:noFill/>
                <a:tableStyleId>{E2FE123F-CB1A-46C3-883C-E0465DE1C88C}</a:tableStyleId>
              </a:tblPr>
              <a:tblGrid>
                <a:gridCol w="27511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289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dirty="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solidFill>
                      <a:srgbClr val="3163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485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dirty="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86" name="Google Shape;86;p11"/>
          <p:cNvSpPr txBox="1">
            <a:spLocks noGrp="1"/>
          </p:cNvSpPr>
          <p:nvPr>
            <p:ph type="body" idx="3"/>
          </p:nvPr>
        </p:nvSpPr>
        <p:spPr>
          <a:xfrm>
            <a:off x="3259950" y="1980425"/>
            <a:ext cx="2598900" cy="2172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51440"/>
              </a:buClr>
              <a:buSzPts val="1800"/>
              <a:buFont typeface="Calibri"/>
              <a:buChar char="●"/>
              <a:defRPr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02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051440"/>
              </a:buClr>
              <a:buSzPts val="1600"/>
              <a:buFont typeface="Calibri"/>
              <a:buChar char="○"/>
              <a:defRPr sz="1600"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316399"/>
              </a:buClr>
              <a:buSzPts val="1400"/>
              <a:buFont typeface="Calibri"/>
              <a:buChar char="■"/>
              <a:defRPr i="1">
                <a:solidFill>
                  <a:srgbClr val="316399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175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051440"/>
              </a:buClr>
              <a:buSzPts val="1400"/>
              <a:buFont typeface="Calibri"/>
              <a:buChar char="●"/>
              <a:defRPr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051440"/>
              </a:buClr>
              <a:buSzPts val="1400"/>
              <a:buFont typeface="Calibri"/>
              <a:buChar char="○"/>
              <a:defRPr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175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051440"/>
              </a:buClr>
              <a:buSzPts val="1400"/>
              <a:buFont typeface="Calibri"/>
              <a:buChar char="■"/>
              <a:defRPr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3175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051440"/>
              </a:buClr>
              <a:buSzPts val="1400"/>
              <a:buFont typeface="Calibri"/>
              <a:buChar char="●"/>
              <a:defRPr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3175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051440"/>
              </a:buClr>
              <a:buSzPts val="1400"/>
              <a:buFont typeface="Calibri"/>
              <a:buChar char="○"/>
              <a:defRPr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317500" rtl="0">
              <a:lnSpc>
                <a:spcPct val="115000"/>
              </a:lnSpc>
              <a:spcBef>
                <a:spcPts val="1000"/>
              </a:spcBef>
              <a:spcAft>
                <a:spcPts val="1000"/>
              </a:spcAft>
              <a:buClr>
                <a:srgbClr val="051440"/>
              </a:buClr>
              <a:buSzPts val="1400"/>
              <a:buFont typeface="Calibri"/>
              <a:buChar char="■"/>
              <a:defRPr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7" name="Google Shape;87;p11"/>
          <p:cNvSpPr txBox="1">
            <a:spLocks noGrp="1"/>
          </p:cNvSpPr>
          <p:nvPr>
            <p:ph type="subTitle" idx="4"/>
          </p:nvPr>
        </p:nvSpPr>
        <p:spPr>
          <a:xfrm>
            <a:off x="3180475" y="1118275"/>
            <a:ext cx="2751000" cy="774600"/>
          </a:xfrm>
          <a:prstGeom prst="rect">
            <a:avLst/>
          </a:prstGeom>
        </p:spPr>
        <p:txBody>
          <a:bodyPr spcFirstLastPara="1" wrap="square" lIns="182875" tIns="91425" rIns="182875" bIns="91425" anchor="ctr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alibri"/>
              <a:buNone/>
              <a:defRPr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graphicFrame>
        <p:nvGraphicFramePr>
          <p:cNvPr id="88" name="Google Shape;88;p11"/>
          <p:cNvGraphicFramePr/>
          <p:nvPr/>
        </p:nvGraphicFramePr>
        <p:xfrm>
          <a:off x="6033945" y="1138124"/>
          <a:ext cx="2751125" cy="3277500"/>
        </p:xfrm>
        <a:graphic>
          <a:graphicData uri="http://schemas.openxmlformats.org/drawingml/2006/table">
            <a:tbl>
              <a:tblPr>
                <a:noFill/>
                <a:tableStyleId>{E2FE123F-CB1A-46C3-883C-E0465DE1C88C}</a:tableStyleId>
              </a:tblPr>
              <a:tblGrid>
                <a:gridCol w="27511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289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dirty="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solidFill>
                      <a:srgbClr val="3163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4855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dirty="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89" name="Google Shape;89;p11"/>
          <p:cNvSpPr txBox="1">
            <a:spLocks noGrp="1"/>
          </p:cNvSpPr>
          <p:nvPr>
            <p:ph type="body" idx="5"/>
          </p:nvPr>
        </p:nvSpPr>
        <p:spPr>
          <a:xfrm>
            <a:off x="6113450" y="1980425"/>
            <a:ext cx="2598900" cy="2172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51440"/>
              </a:buClr>
              <a:buSzPts val="1800"/>
              <a:buFont typeface="Calibri"/>
              <a:buChar char="●"/>
              <a:defRPr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302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051440"/>
              </a:buClr>
              <a:buSzPts val="1600"/>
              <a:buFont typeface="Calibri"/>
              <a:buChar char="○"/>
              <a:defRPr sz="1600"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316399"/>
              </a:buClr>
              <a:buSzPts val="1400"/>
              <a:buFont typeface="Calibri"/>
              <a:buChar char="■"/>
              <a:defRPr i="1">
                <a:solidFill>
                  <a:srgbClr val="316399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175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051440"/>
              </a:buClr>
              <a:buSzPts val="1400"/>
              <a:buFont typeface="Calibri"/>
              <a:buChar char="●"/>
              <a:defRPr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051440"/>
              </a:buClr>
              <a:buSzPts val="1400"/>
              <a:buFont typeface="Calibri"/>
              <a:buChar char="○"/>
              <a:defRPr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175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051440"/>
              </a:buClr>
              <a:buSzPts val="1400"/>
              <a:buFont typeface="Calibri"/>
              <a:buChar char="■"/>
              <a:defRPr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3175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051440"/>
              </a:buClr>
              <a:buSzPts val="1400"/>
              <a:buFont typeface="Calibri"/>
              <a:buChar char="●"/>
              <a:defRPr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3175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051440"/>
              </a:buClr>
              <a:buSzPts val="1400"/>
              <a:buFont typeface="Calibri"/>
              <a:buChar char="○"/>
              <a:defRPr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317500" rtl="0">
              <a:lnSpc>
                <a:spcPct val="115000"/>
              </a:lnSpc>
              <a:spcBef>
                <a:spcPts val="1000"/>
              </a:spcBef>
              <a:spcAft>
                <a:spcPts val="1000"/>
              </a:spcAft>
              <a:buClr>
                <a:srgbClr val="051440"/>
              </a:buClr>
              <a:buSzPts val="1400"/>
              <a:buFont typeface="Calibri"/>
              <a:buChar char="■"/>
              <a:defRPr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0" name="Google Shape;90;p11"/>
          <p:cNvSpPr txBox="1">
            <a:spLocks noGrp="1"/>
          </p:cNvSpPr>
          <p:nvPr>
            <p:ph type="subTitle" idx="6"/>
          </p:nvPr>
        </p:nvSpPr>
        <p:spPr>
          <a:xfrm>
            <a:off x="6033975" y="1118275"/>
            <a:ext cx="2751000" cy="774600"/>
          </a:xfrm>
          <a:prstGeom prst="rect">
            <a:avLst/>
          </a:prstGeom>
        </p:spPr>
        <p:txBody>
          <a:bodyPr spcFirstLastPara="1" wrap="square" lIns="182875" tIns="91425" rIns="182875" bIns="91425" anchor="ctr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alibri"/>
              <a:buNone/>
              <a:defRPr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" name="Google Shape;8;p1">
            <a:extLst>
              <a:ext uri="{FF2B5EF4-FFF2-40B4-BE49-F238E27FC236}">
                <a16:creationId xmlns:a16="http://schemas.microsoft.com/office/drawing/2014/main" id="{A9D65638-C664-4E1F-A00B-3F722836942B}"/>
              </a:ext>
            </a:extLst>
          </p:cNvPr>
          <p:cNvSpPr txBox="1">
            <a:spLocks/>
          </p:cNvSpPr>
          <p:nvPr userDrawn="1"/>
        </p:nvSpPr>
        <p:spPr>
          <a:xfrm>
            <a:off x="0" y="4746977"/>
            <a:ext cx="398445" cy="381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rgbClr val="04143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defRPr>
            </a:lvl1pPr>
            <a:lvl2pPr marR="0"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z="800" smtClean="0"/>
              <a:pPr/>
              <a:t>‹#›</a:t>
            </a:fld>
            <a:endParaRPr lang="en" sz="1050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 2">
  <p:cSld name="Content_ShortTitle">
    <p:spTree>
      <p:nvGrpSpPr>
        <p:cNvPr id="1" name="Shape 1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0B549CB-2627-4CC3-B0D8-6EA40F2B7C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8896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0B549CB-2627-4CC3-B0D8-6EA40F2B7C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5" name="Google Shape;125;p14"/>
          <p:cNvSpPr/>
          <p:nvPr/>
        </p:nvSpPr>
        <p:spPr>
          <a:xfrm>
            <a:off x="-25" y="0"/>
            <a:ext cx="9144000" cy="774600"/>
          </a:xfrm>
          <a:prstGeom prst="rect">
            <a:avLst/>
          </a:prstGeom>
          <a:solidFill>
            <a:srgbClr val="05144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" name="Google Shape;126;p14"/>
          <p:cNvSpPr txBox="1">
            <a:spLocks noGrp="1"/>
          </p:cNvSpPr>
          <p:nvPr>
            <p:ph type="title"/>
          </p:nvPr>
        </p:nvSpPr>
        <p:spPr>
          <a:xfrm>
            <a:off x="267607" y="202634"/>
            <a:ext cx="8604931" cy="369332"/>
          </a:xfrm>
          <a:prstGeom prst="rect">
            <a:avLst/>
          </a:prstGeom>
        </p:spPr>
        <p:txBody>
          <a:bodyPr spcFirstLastPara="1" wrap="square" lIns="0" tIns="0" rIns="0" bIns="0" anchor="ctr" anchorCtr="0">
            <a:sp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500"/>
              <a:buFont typeface="Calibri"/>
              <a:buNone/>
              <a:defRPr sz="240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en-IN" dirty="0"/>
          </a:p>
        </p:txBody>
      </p:sp>
      <p:sp>
        <p:nvSpPr>
          <p:cNvPr id="127" name="Google Shape;127;p14"/>
          <p:cNvSpPr txBox="1">
            <a:spLocks noGrp="1"/>
          </p:cNvSpPr>
          <p:nvPr>
            <p:ph type="body" idx="1"/>
          </p:nvPr>
        </p:nvSpPr>
        <p:spPr>
          <a:xfrm>
            <a:off x="271462" y="923875"/>
            <a:ext cx="8712637" cy="57397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spAutoFit/>
          </a:bodyPr>
          <a:lstStyle>
            <a:lvl1pPr marL="457200" lvl="0" indent="-3683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51440"/>
              </a:buClr>
              <a:buSzPts val="2200"/>
              <a:buFont typeface="Calibri"/>
              <a:buChar char="●"/>
              <a:defRPr sz="2200"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051440"/>
              </a:buClr>
              <a:buSzPts val="1800"/>
              <a:buFont typeface="Calibri"/>
              <a:buChar char="○"/>
              <a:defRPr sz="1800"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316399"/>
              </a:buClr>
              <a:buSzPts val="1400"/>
              <a:buFont typeface="Calibri"/>
              <a:buChar char="■"/>
              <a:defRPr i="1">
                <a:solidFill>
                  <a:srgbClr val="316399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175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051440"/>
              </a:buClr>
              <a:buSzPts val="1400"/>
              <a:buFont typeface="Calibri"/>
              <a:buChar char="●"/>
              <a:defRPr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051440"/>
              </a:buClr>
              <a:buSzPts val="1400"/>
              <a:buFont typeface="Calibri"/>
              <a:buChar char="○"/>
              <a:defRPr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175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051440"/>
              </a:buClr>
              <a:buSzPts val="1400"/>
              <a:buFont typeface="Calibri"/>
              <a:buChar char="■"/>
              <a:defRPr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3175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051440"/>
              </a:buClr>
              <a:buSzPts val="1400"/>
              <a:buFont typeface="Calibri"/>
              <a:buChar char="●"/>
              <a:defRPr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3175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051440"/>
              </a:buClr>
              <a:buSzPts val="1400"/>
              <a:buFont typeface="Calibri"/>
              <a:buChar char="○"/>
              <a:defRPr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317500" rtl="0">
              <a:lnSpc>
                <a:spcPct val="115000"/>
              </a:lnSpc>
              <a:spcBef>
                <a:spcPts val="1000"/>
              </a:spcBef>
              <a:spcAft>
                <a:spcPts val="1000"/>
              </a:spcAft>
              <a:buClr>
                <a:srgbClr val="051440"/>
              </a:buClr>
              <a:buSzPts val="1400"/>
              <a:buFont typeface="Calibri"/>
              <a:buChar char="■"/>
              <a:defRPr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129" name="Google Shape;129;p14"/>
          <p:cNvPicPr preferRelativeResize="0"/>
          <p:nvPr/>
        </p:nvPicPr>
        <p:blipFill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6289" y="4746977"/>
            <a:ext cx="1086249" cy="291375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Google Shape;8;p1">
            <a:extLst>
              <a:ext uri="{FF2B5EF4-FFF2-40B4-BE49-F238E27FC236}">
                <a16:creationId xmlns:a16="http://schemas.microsoft.com/office/drawing/2014/main" id="{7017FC34-7A0E-4C2C-9EA4-23CB9CA0FD88}"/>
              </a:ext>
            </a:extLst>
          </p:cNvPr>
          <p:cNvSpPr txBox="1">
            <a:spLocks/>
          </p:cNvSpPr>
          <p:nvPr userDrawn="1"/>
        </p:nvSpPr>
        <p:spPr>
          <a:xfrm>
            <a:off x="0" y="4746977"/>
            <a:ext cx="398445" cy="381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rgbClr val="04143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defRPr>
            </a:lvl1pPr>
            <a:lvl2pPr marR="0"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z="800" smtClean="0"/>
              <a:pPr/>
              <a:t>‹#›</a:t>
            </a:fld>
            <a:endParaRPr lang="en" sz="1050" dirty="0"/>
          </a:p>
        </p:txBody>
      </p:sp>
    </p:spTree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171" userDrawn="1">
          <p15:clr>
            <a:srgbClr val="FBAE40"/>
          </p15:clr>
        </p15:guide>
        <p15:guide id="2" pos="558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 1">
  <p:cSld name="TITLE_AND_BODY_1"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Google Shape;138;p16"/>
          <p:cNvSpPr/>
          <p:nvPr/>
        </p:nvSpPr>
        <p:spPr>
          <a:xfrm>
            <a:off x="-25" y="0"/>
            <a:ext cx="9144000" cy="774600"/>
          </a:xfrm>
          <a:prstGeom prst="rect">
            <a:avLst/>
          </a:prstGeom>
          <a:solidFill>
            <a:srgbClr val="05144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9" name="Google Shape;139;p16"/>
          <p:cNvSpPr txBox="1">
            <a:spLocks noGrp="1"/>
          </p:cNvSpPr>
          <p:nvPr>
            <p:ph type="title"/>
          </p:nvPr>
        </p:nvSpPr>
        <p:spPr>
          <a:xfrm>
            <a:off x="159311" y="100951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500"/>
              <a:buFont typeface="Calibri"/>
              <a:buNone/>
              <a:defRPr sz="250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Calibri"/>
              <a:buNone/>
              <a:defRPr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0" name="Google Shape;140;p16"/>
          <p:cNvSpPr txBox="1">
            <a:spLocks noGrp="1"/>
          </p:cNvSpPr>
          <p:nvPr>
            <p:ph type="body" idx="1"/>
          </p:nvPr>
        </p:nvSpPr>
        <p:spPr>
          <a:xfrm>
            <a:off x="159300" y="923875"/>
            <a:ext cx="42615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683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51440"/>
              </a:buClr>
              <a:buSzPts val="2200"/>
              <a:buFont typeface="Calibri"/>
              <a:buChar char="●"/>
              <a:defRPr sz="2200"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051440"/>
              </a:buClr>
              <a:buSzPts val="1800"/>
              <a:buFont typeface="Calibri"/>
              <a:buChar char="○"/>
              <a:defRPr sz="1800"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316399"/>
              </a:buClr>
              <a:buSzPts val="1400"/>
              <a:buFont typeface="Calibri"/>
              <a:buChar char="■"/>
              <a:defRPr i="1">
                <a:solidFill>
                  <a:srgbClr val="316399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175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051440"/>
              </a:buClr>
              <a:buSzPts val="1400"/>
              <a:buFont typeface="Calibri"/>
              <a:buChar char="●"/>
              <a:defRPr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051440"/>
              </a:buClr>
              <a:buSzPts val="1400"/>
              <a:buFont typeface="Calibri"/>
              <a:buChar char="○"/>
              <a:defRPr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175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051440"/>
              </a:buClr>
              <a:buSzPts val="1400"/>
              <a:buFont typeface="Calibri"/>
              <a:buChar char="■"/>
              <a:defRPr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3175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051440"/>
              </a:buClr>
              <a:buSzPts val="1400"/>
              <a:buFont typeface="Calibri"/>
              <a:buChar char="●"/>
              <a:defRPr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317500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051440"/>
              </a:buClr>
              <a:buSzPts val="1400"/>
              <a:buFont typeface="Calibri"/>
              <a:buChar char="○"/>
              <a:defRPr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317500" rtl="0">
              <a:lnSpc>
                <a:spcPct val="115000"/>
              </a:lnSpc>
              <a:spcBef>
                <a:spcPts val="1000"/>
              </a:spcBef>
              <a:spcAft>
                <a:spcPts val="1000"/>
              </a:spcAft>
              <a:buClr>
                <a:srgbClr val="051440"/>
              </a:buClr>
              <a:buSzPts val="1400"/>
              <a:buFont typeface="Calibri"/>
              <a:buChar char="■"/>
              <a:defRPr>
                <a:solidFill>
                  <a:srgbClr val="051440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142" name="Google Shape;142;p16"/>
          <p:cNvPicPr preferRelativeResize="0"/>
          <p:nvPr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7856" y="4746977"/>
            <a:ext cx="1086249" cy="291375"/>
          </a:xfrm>
          <a:prstGeom prst="rect">
            <a:avLst/>
          </a:prstGeom>
          <a:noFill/>
          <a:ln>
            <a:noFill/>
          </a:ln>
        </p:spPr>
      </p:pic>
      <p:sp>
        <p:nvSpPr>
          <p:cNvPr id="143" name="Google Shape;143;p16"/>
          <p:cNvSpPr>
            <a:spLocks noGrp="1"/>
          </p:cNvSpPr>
          <p:nvPr>
            <p:ph type="pic" idx="2"/>
          </p:nvPr>
        </p:nvSpPr>
        <p:spPr>
          <a:xfrm>
            <a:off x="4816300" y="885025"/>
            <a:ext cx="3863700" cy="3494100"/>
          </a:xfrm>
          <a:prstGeom prst="rect">
            <a:avLst/>
          </a:prstGeom>
          <a:noFill/>
          <a:ln>
            <a:noFill/>
          </a:ln>
        </p:spPr>
      </p:sp>
      <p:sp>
        <p:nvSpPr>
          <p:cNvPr id="9" name="Google Shape;8;p1">
            <a:extLst>
              <a:ext uri="{FF2B5EF4-FFF2-40B4-BE49-F238E27FC236}">
                <a16:creationId xmlns:a16="http://schemas.microsoft.com/office/drawing/2014/main" id="{7258C9DF-42E0-4B2D-8E31-B14B10283D8D}"/>
              </a:ext>
            </a:extLst>
          </p:cNvPr>
          <p:cNvSpPr txBox="1">
            <a:spLocks/>
          </p:cNvSpPr>
          <p:nvPr userDrawn="1"/>
        </p:nvSpPr>
        <p:spPr>
          <a:xfrm>
            <a:off x="0" y="4746977"/>
            <a:ext cx="398445" cy="381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rgbClr val="04143F"/>
                </a:solidFill>
                <a:latin typeface="Roboto" panose="02000000000000000000" pitchFamily="2" charset="0"/>
                <a:ea typeface="Roboto" panose="02000000000000000000" pitchFamily="2" charset="0"/>
                <a:cs typeface="Arial"/>
                <a:sym typeface="Arial"/>
              </a:defRPr>
            </a:lvl1pPr>
            <a:lvl2pPr marR="0"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z="800" smtClean="0"/>
              <a:pPr/>
              <a:t>‹#›</a:t>
            </a:fld>
            <a:endParaRPr lang="en" sz="1050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1">
  <p:cSld name="BLANK_1">
    <p:bg>
      <p:bgPr>
        <a:solidFill>
          <a:srgbClr val="000000"/>
        </a:solidFill>
        <a:effectLst/>
      </p:bgPr>
    </p:bg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433336-BC57-5F4F-99C7-567B89025E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37C8D0-AAE1-1946-AD5D-B5FFDE2491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0756" y="1001865"/>
            <a:ext cx="8262490" cy="363085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8AEA1A-A377-6D43-B8D2-45B711B93C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A0C0B-04F8-A14F-964C-198FB8CF98DC}" type="datetime1">
              <a:rPr lang="en-US" smtClean="0"/>
              <a:t>6/3/22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E74726-E02A-FF4E-85DA-04C2506E60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62F57E-D50A-8745-B86B-43059DFC38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84106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B104A1E-2BCC-5F40-9AD1-5963292A0B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4597-3BDF-9545-884A-7D8E1C0BC9F8}" type="datetime1">
              <a:rPr lang="en-US" smtClean="0"/>
              <a:t>6/3/22</a:t>
            </a:fld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E00595-C922-164E-BB36-E4B7692574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62F57E-D50A-8745-B86B-43059DFC38B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03023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278BAAA-697B-44C5-9141-555016AC32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218657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278BAAA-697B-44C5-9141-555016AC32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  <a:defRPr sz="2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  <a:defRPr sz="2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  <a:defRPr sz="2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  <a:defRPr sz="2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  <a:defRPr sz="2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  <a:defRPr sz="2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  <a:defRPr sz="2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  <a:defRPr sz="2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  <a:defRPr sz="2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Calibri"/>
              <a:buChar char="●"/>
              <a:defRPr sz="18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Calibri"/>
              <a:buChar char="○"/>
              <a:defRPr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Calibri"/>
              <a:buChar char="■"/>
              <a:defRPr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Calibri"/>
              <a:buChar char="●"/>
              <a:defRPr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Calibri"/>
              <a:buChar char="○"/>
              <a:defRPr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Calibri"/>
              <a:buChar char="■"/>
              <a:defRPr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Calibri"/>
              <a:buChar char="●"/>
              <a:defRPr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Calibri"/>
              <a:buChar char="○"/>
              <a:defRPr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Calibri"/>
              <a:buChar char="■"/>
              <a:defRPr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4297650" y="473465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buNone/>
              <a:defRPr sz="1000">
                <a:solidFill>
                  <a:srgbClr val="04143F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lvl="1" algn="r">
              <a:buNone/>
              <a:defRPr sz="1000">
                <a:solidFill>
                  <a:schemeClr val="dk2"/>
                </a:solidFill>
              </a:defRPr>
            </a:lvl2pPr>
            <a:lvl3pPr lvl="2" algn="r">
              <a:buNone/>
              <a:defRPr sz="1000">
                <a:solidFill>
                  <a:schemeClr val="dk2"/>
                </a:solidFill>
              </a:defRPr>
            </a:lvl3pPr>
            <a:lvl4pPr lvl="3" algn="r">
              <a:buNone/>
              <a:defRPr sz="1000">
                <a:solidFill>
                  <a:schemeClr val="dk2"/>
                </a:solidFill>
              </a:defRPr>
            </a:lvl4pPr>
            <a:lvl5pPr lvl="4" algn="r">
              <a:buNone/>
              <a:defRPr sz="1000">
                <a:solidFill>
                  <a:schemeClr val="dk2"/>
                </a:solidFill>
              </a:defRPr>
            </a:lvl5pPr>
            <a:lvl6pPr lvl="5" algn="r">
              <a:buNone/>
              <a:defRPr sz="1000">
                <a:solidFill>
                  <a:schemeClr val="dk2"/>
                </a:solidFill>
              </a:defRPr>
            </a:lvl6pPr>
            <a:lvl7pPr lvl="6" algn="r">
              <a:buNone/>
              <a:defRPr sz="1000">
                <a:solidFill>
                  <a:schemeClr val="dk2"/>
                </a:solidFill>
              </a:defRPr>
            </a:lvl7pPr>
            <a:lvl8pPr lvl="7" algn="r">
              <a:buNone/>
              <a:defRPr sz="1000">
                <a:solidFill>
                  <a:schemeClr val="dk2"/>
                </a:solidFill>
              </a:defRPr>
            </a:lvl8pPr>
            <a:lvl9pPr lvl="8" algn="r">
              <a:buNone/>
              <a:defRPr sz="1000">
                <a:solidFill>
                  <a:schemeClr val="dk2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99" r:id="rId1"/>
    <p:sldLayoutId id="2147483701" r:id="rId2"/>
    <p:sldLayoutId id="2147483655" r:id="rId3"/>
    <p:sldLayoutId id="2147483657" r:id="rId4"/>
    <p:sldLayoutId id="2147483660" r:id="rId5"/>
    <p:sldLayoutId id="2147483662" r:id="rId6"/>
    <p:sldLayoutId id="2147483665" r:id="rId7"/>
    <p:sldLayoutId id="2147483712" r:id="rId8"/>
    <p:sldLayoutId id="2147483713" r:id="rId9"/>
    <p:sldLayoutId id="2147483714" r:id="rId10"/>
    <p:sldLayoutId id="2147483715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.xml"/><Relationship Id="rId6" Type="http://schemas.openxmlformats.org/officeDocument/2006/relationships/image" Target="../media/image7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oleObject" Target="../embeddings/oleObject14.bin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4.xml"/><Relationship Id="rId6" Type="http://schemas.openxmlformats.org/officeDocument/2006/relationships/image" Target="../media/image30.emf"/><Relationship Id="rId5" Type="http://schemas.openxmlformats.org/officeDocument/2006/relationships/image" Target="../media/image29.emf"/><Relationship Id="rId10" Type="http://schemas.openxmlformats.org/officeDocument/2006/relationships/image" Target="../media/image34.svg"/><Relationship Id="rId4" Type="http://schemas.openxmlformats.org/officeDocument/2006/relationships/image" Target="../media/image1.emf"/><Relationship Id="rId9" Type="http://schemas.openxmlformats.org/officeDocument/2006/relationships/image" Target="../media/image3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5.xml"/><Relationship Id="rId6" Type="http://schemas.openxmlformats.org/officeDocument/2006/relationships/chart" Target="../charts/chart1.xml"/><Relationship Id="rId5" Type="http://schemas.openxmlformats.org/officeDocument/2006/relationships/image" Target="../media/image35.jpe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6.xml"/><Relationship Id="rId6" Type="http://schemas.openxmlformats.org/officeDocument/2006/relationships/image" Target="../media/image36.png"/><Relationship Id="rId5" Type="http://schemas.openxmlformats.org/officeDocument/2006/relationships/image" Target="../media/image1.emf"/><Relationship Id="rId10" Type="http://schemas.openxmlformats.org/officeDocument/2006/relationships/image" Target="../media/image40.png"/><Relationship Id="rId4" Type="http://schemas.openxmlformats.org/officeDocument/2006/relationships/oleObject" Target="../embeddings/oleObject16.bin"/><Relationship Id="rId9" Type="http://schemas.openxmlformats.org/officeDocument/2006/relationships/image" Target="../media/image3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oleObject" Target="../embeddings/oleObject17.bin"/><Relationship Id="rId7" Type="http://schemas.openxmlformats.org/officeDocument/2006/relationships/image" Target="../media/image43.emf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.xml"/><Relationship Id="rId6" Type="http://schemas.openxmlformats.org/officeDocument/2006/relationships/image" Target="../media/image42.emf"/><Relationship Id="rId5" Type="http://schemas.openxmlformats.org/officeDocument/2006/relationships/image" Target="../media/image41.emf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emf"/><Relationship Id="rId3" Type="http://schemas.openxmlformats.org/officeDocument/2006/relationships/oleObject" Target="../embeddings/oleObject19.bin"/><Relationship Id="rId7" Type="http://schemas.openxmlformats.org/officeDocument/2006/relationships/oleObject" Target="../embeddings/oleObject21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9.xml"/><Relationship Id="rId6" Type="http://schemas.openxmlformats.org/officeDocument/2006/relationships/image" Target="../media/image47.emf"/><Relationship Id="rId11" Type="http://schemas.openxmlformats.org/officeDocument/2006/relationships/image" Target="../media/image50.jpeg"/><Relationship Id="rId5" Type="http://schemas.openxmlformats.org/officeDocument/2006/relationships/oleObject" Target="../embeddings/oleObject20.bin"/><Relationship Id="rId10" Type="http://schemas.openxmlformats.org/officeDocument/2006/relationships/image" Target="../media/image49.emf"/><Relationship Id="rId4" Type="http://schemas.openxmlformats.org/officeDocument/2006/relationships/image" Target="../media/image1.emf"/><Relationship Id="rId9" Type="http://schemas.openxmlformats.org/officeDocument/2006/relationships/oleObject" Target="../embeddings/oleObject22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jpeg"/><Relationship Id="rId3" Type="http://schemas.openxmlformats.org/officeDocument/2006/relationships/notesSlide" Target="../notesSlides/notesSlide4.xml"/><Relationship Id="rId7" Type="http://schemas.openxmlformats.org/officeDocument/2006/relationships/chart" Target="../charts/chart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0.xml"/><Relationship Id="rId6" Type="http://schemas.openxmlformats.org/officeDocument/2006/relationships/chart" Target="../charts/chart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svg"/><Relationship Id="rId13" Type="http://schemas.openxmlformats.org/officeDocument/2006/relationships/image" Target="../media/image60.png"/><Relationship Id="rId18" Type="http://schemas.openxmlformats.org/officeDocument/2006/relationships/image" Target="../media/image65.svg"/><Relationship Id="rId3" Type="http://schemas.openxmlformats.org/officeDocument/2006/relationships/oleObject" Target="../embeddings/oleObject24.bin"/><Relationship Id="rId21" Type="http://schemas.openxmlformats.org/officeDocument/2006/relationships/image" Target="../media/image68.png"/><Relationship Id="rId7" Type="http://schemas.openxmlformats.org/officeDocument/2006/relationships/image" Target="../media/image54.png"/><Relationship Id="rId12" Type="http://schemas.openxmlformats.org/officeDocument/2006/relationships/image" Target="../media/image59.svg"/><Relationship Id="rId17" Type="http://schemas.openxmlformats.org/officeDocument/2006/relationships/image" Target="../media/image64.pn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63.svg"/><Relationship Id="rId20" Type="http://schemas.openxmlformats.org/officeDocument/2006/relationships/image" Target="../media/image67.svg"/><Relationship Id="rId1" Type="http://schemas.openxmlformats.org/officeDocument/2006/relationships/tags" Target="../tags/tag21.xml"/><Relationship Id="rId6" Type="http://schemas.openxmlformats.org/officeDocument/2006/relationships/image" Target="../media/image53.svg"/><Relationship Id="rId11" Type="http://schemas.openxmlformats.org/officeDocument/2006/relationships/image" Target="../media/image58.png"/><Relationship Id="rId5" Type="http://schemas.openxmlformats.org/officeDocument/2006/relationships/image" Target="../media/image52.png"/><Relationship Id="rId15" Type="http://schemas.openxmlformats.org/officeDocument/2006/relationships/image" Target="../media/image62.png"/><Relationship Id="rId10" Type="http://schemas.openxmlformats.org/officeDocument/2006/relationships/image" Target="../media/image57.svg"/><Relationship Id="rId19" Type="http://schemas.openxmlformats.org/officeDocument/2006/relationships/image" Target="../media/image66.png"/><Relationship Id="rId4" Type="http://schemas.openxmlformats.org/officeDocument/2006/relationships/image" Target="../media/image1.emf"/><Relationship Id="rId9" Type="http://schemas.openxmlformats.org/officeDocument/2006/relationships/image" Target="../media/image56.png"/><Relationship Id="rId14" Type="http://schemas.openxmlformats.org/officeDocument/2006/relationships/image" Target="../media/image61.svg"/><Relationship Id="rId22" Type="http://schemas.openxmlformats.org/officeDocument/2006/relationships/image" Target="../media/image69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3.xml"/><Relationship Id="rId6" Type="http://schemas.openxmlformats.org/officeDocument/2006/relationships/image" Target="../media/image71.svg"/><Relationship Id="rId5" Type="http://schemas.openxmlformats.org/officeDocument/2006/relationships/image" Target="../media/image70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sv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0.jpeg"/><Relationship Id="rId12" Type="http://schemas.openxmlformats.org/officeDocument/2006/relationships/image" Target="../media/image15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Relationship Id="rId6" Type="http://schemas.openxmlformats.org/officeDocument/2006/relationships/image" Target="../media/image9.png"/><Relationship Id="rId11" Type="http://schemas.openxmlformats.org/officeDocument/2006/relationships/image" Target="../media/image14.svg"/><Relationship Id="rId5" Type="http://schemas.openxmlformats.org/officeDocument/2006/relationships/image" Target="../media/image1.emf"/><Relationship Id="rId10" Type="http://schemas.openxmlformats.org/officeDocument/2006/relationships/image" Target="../media/image13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Relationship Id="rId6" Type="http://schemas.openxmlformats.org/officeDocument/2006/relationships/image" Target="../media/image20.png"/><Relationship Id="rId5" Type="http://schemas.openxmlformats.org/officeDocument/2006/relationships/image" Target="../media/image19.jpe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Relationship Id="rId5" Type="http://schemas.openxmlformats.org/officeDocument/2006/relationships/image" Target="../media/image21.jp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10" Type="http://schemas.openxmlformats.org/officeDocument/2006/relationships/image" Target="../media/image27.svg"/><Relationship Id="rId4" Type="http://schemas.openxmlformats.org/officeDocument/2006/relationships/image" Target="../media/image1.emf"/><Relationship Id="rId9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5C8DE14-296A-4F2D-A4CA-5471AEC2BE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5C8DE14-296A-4F2D-A4CA-5471AEC2BE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2F990ADC-6A00-4312-9E1D-495D365DF94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-1" r="30758"/>
          <a:stretch/>
        </p:blipFill>
        <p:spPr>
          <a:xfrm>
            <a:off x="2812429" y="0"/>
            <a:ext cx="6331570" cy="5148072"/>
          </a:xfrm>
          <a:prstGeom prst="rect">
            <a:avLst/>
          </a:prstGeom>
        </p:spPr>
      </p:pic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4FC2539B-F616-4E15-92C6-7780EAE47EE4}"/>
              </a:ext>
            </a:extLst>
          </p:cNvPr>
          <p:cNvSpPr/>
          <p:nvPr/>
        </p:nvSpPr>
        <p:spPr>
          <a:xfrm>
            <a:off x="4565950" y="3868594"/>
            <a:ext cx="1612600" cy="1274903"/>
          </a:xfrm>
          <a:prstGeom prst="triangle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D3F347B9-7EE3-4B7C-9E66-74D59A571478}"/>
              </a:ext>
            </a:extLst>
          </p:cNvPr>
          <p:cNvSpPr>
            <a:spLocks/>
          </p:cNvSpPr>
          <p:nvPr/>
        </p:nvSpPr>
        <p:spPr bwMode="auto">
          <a:xfrm>
            <a:off x="0" y="-3"/>
            <a:ext cx="5592131" cy="5143500"/>
          </a:xfrm>
          <a:custGeom>
            <a:avLst/>
            <a:gdLst>
              <a:gd name="connsiteX0" fmla="*/ 0 w 7456175"/>
              <a:gd name="connsiteY0" fmla="*/ 0 h 6858000"/>
              <a:gd name="connsiteX1" fmla="*/ 1323974 w 7456175"/>
              <a:gd name="connsiteY1" fmla="*/ 0 h 6858000"/>
              <a:gd name="connsiteX2" fmla="*/ 3049581 w 7456175"/>
              <a:gd name="connsiteY2" fmla="*/ 0 h 6858000"/>
              <a:gd name="connsiteX3" fmla="*/ 3403631 w 7456175"/>
              <a:gd name="connsiteY3" fmla="*/ 0 h 6858000"/>
              <a:gd name="connsiteX4" fmla="*/ 3610776 w 7456175"/>
              <a:gd name="connsiteY4" fmla="*/ 0 h 6858000"/>
              <a:gd name="connsiteX5" fmla="*/ 3795943 w 7456175"/>
              <a:gd name="connsiteY5" fmla="*/ 0 h 6858000"/>
              <a:gd name="connsiteX6" fmla="*/ 4332755 w 7456175"/>
              <a:gd name="connsiteY6" fmla="*/ 0 h 6858000"/>
              <a:gd name="connsiteX7" fmla="*/ 4905375 w 7456175"/>
              <a:gd name="connsiteY7" fmla="*/ 0 h 6858000"/>
              <a:gd name="connsiteX8" fmla="*/ 5321168 w 7456175"/>
              <a:gd name="connsiteY8" fmla="*/ 0 h 6858000"/>
              <a:gd name="connsiteX9" fmla="*/ 5564437 w 7456175"/>
              <a:gd name="connsiteY9" fmla="*/ 0 h 6858000"/>
              <a:gd name="connsiteX10" fmla="*/ 5781896 w 7456175"/>
              <a:gd name="connsiteY10" fmla="*/ 0 h 6858000"/>
              <a:gd name="connsiteX11" fmla="*/ 6412323 w 7456175"/>
              <a:gd name="connsiteY11" fmla="*/ 0 h 6858000"/>
              <a:gd name="connsiteX12" fmla="*/ 6338458 w 7456175"/>
              <a:gd name="connsiteY12" fmla="*/ 560223 h 6858000"/>
              <a:gd name="connsiteX13" fmla="*/ 6344700 w 7456175"/>
              <a:gd name="connsiteY13" fmla="*/ 928977 h 6858000"/>
              <a:gd name="connsiteX14" fmla="*/ 6172522 w 7456175"/>
              <a:gd name="connsiteY14" fmla="*/ 2708334 h 6858000"/>
              <a:gd name="connsiteX15" fmla="*/ 7333554 w 7456175"/>
              <a:gd name="connsiteY15" fmla="*/ 4502465 h 6858000"/>
              <a:gd name="connsiteX16" fmla="*/ 7455795 w 7456175"/>
              <a:gd name="connsiteY16" fmla="*/ 5460398 h 6858000"/>
              <a:gd name="connsiteX17" fmla="*/ 7236281 w 7456175"/>
              <a:gd name="connsiteY17" fmla="*/ 6858000 h 6858000"/>
              <a:gd name="connsiteX18" fmla="*/ 5781896 w 7456175"/>
              <a:gd name="connsiteY18" fmla="*/ 6858000 h 6858000"/>
              <a:gd name="connsiteX19" fmla="*/ 5564437 w 7456175"/>
              <a:gd name="connsiteY19" fmla="*/ 6858000 h 6858000"/>
              <a:gd name="connsiteX20" fmla="*/ 5321168 w 7456175"/>
              <a:gd name="connsiteY20" fmla="*/ 6858000 h 6858000"/>
              <a:gd name="connsiteX21" fmla="*/ 5034359 w 7456175"/>
              <a:gd name="connsiteY21" fmla="*/ 6858000 h 6858000"/>
              <a:gd name="connsiteX22" fmla="*/ 4905375 w 7456175"/>
              <a:gd name="connsiteY22" fmla="*/ 6858000 h 6858000"/>
              <a:gd name="connsiteX23" fmla="*/ 3795943 w 7456175"/>
              <a:gd name="connsiteY23" fmla="*/ 6858000 h 6858000"/>
              <a:gd name="connsiteX24" fmla="*/ 3610776 w 7456175"/>
              <a:gd name="connsiteY24" fmla="*/ 6858000 h 6858000"/>
              <a:gd name="connsiteX25" fmla="*/ 3403631 w 7456175"/>
              <a:gd name="connsiteY25" fmla="*/ 6858000 h 6858000"/>
              <a:gd name="connsiteX26" fmla="*/ 3049581 w 7456175"/>
              <a:gd name="connsiteY26" fmla="*/ 6858000 h 6858000"/>
              <a:gd name="connsiteX27" fmla="*/ 1323974 w 7456175"/>
              <a:gd name="connsiteY27" fmla="*/ 6858000 h 6858000"/>
              <a:gd name="connsiteX28" fmla="*/ 0 w 7456175"/>
              <a:gd name="connsiteY2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7456175" h="6858000">
                <a:moveTo>
                  <a:pt x="0" y="0"/>
                </a:moveTo>
                <a:lnTo>
                  <a:pt x="1323974" y="0"/>
                </a:lnTo>
                <a:lnTo>
                  <a:pt x="3049581" y="0"/>
                </a:lnTo>
                <a:lnTo>
                  <a:pt x="3403631" y="0"/>
                </a:lnTo>
                <a:lnTo>
                  <a:pt x="3610776" y="0"/>
                </a:lnTo>
                <a:lnTo>
                  <a:pt x="3795943" y="0"/>
                </a:lnTo>
                <a:lnTo>
                  <a:pt x="4332755" y="0"/>
                </a:lnTo>
                <a:lnTo>
                  <a:pt x="4905375" y="0"/>
                </a:lnTo>
                <a:lnTo>
                  <a:pt x="5321168" y="0"/>
                </a:lnTo>
                <a:lnTo>
                  <a:pt x="5564437" y="0"/>
                </a:lnTo>
                <a:lnTo>
                  <a:pt x="5781896" y="0"/>
                </a:lnTo>
                <a:lnTo>
                  <a:pt x="6412323" y="0"/>
                </a:lnTo>
                <a:cubicBezTo>
                  <a:pt x="6369668" y="183786"/>
                  <a:pt x="6344700" y="372891"/>
                  <a:pt x="6338458" y="560223"/>
                </a:cubicBezTo>
                <a:cubicBezTo>
                  <a:pt x="6334296" y="683732"/>
                  <a:pt x="6336897" y="806650"/>
                  <a:pt x="6344700" y="928977"/>
                </a:cubicBezTo>
                <a:cubicBezTo>
                  <a:pt x="6085132" y="1510474"/>
                  <a:pt x="5997223" y="2117382"/>
                  <a:pt x="6172522" y="2708334"/>
                </a:cubicBezTo>
                <a:cubicBezTo>
                  <a:pt x="6361866" y="3347153"/>
                  <a:pt x="6840427" y="3925695"/>
                  <a:pt x="7333554" y="4502465"/>
                </a:cubicBezTo>
                <a:cubicBezTo>
                  <a:pt x="7404818" y="4816260"/>
                  <a:pt x="7450593" y="5135375"/>
                  <a:pt x="7455795" y="5460398"/>
                </a:cubicBezTo>
                <a:cubicBezTo>
                  <a:pt x="7462557" y="5944388"/>
                  <a:pt x="7378809" y="6409468"/>
                  <a:pt x="7236281" y="6858000"/>
                </a:cubicBezTo>
                <a:lnTo>
                  <a:pt x="5781896" y="6858000"/>
                </a:lnTo>
                <a:lnTo>
                  <a:pt x="5564437" y="6858000"/>
                </a:lnTo>
                <a:lnTo>
                  <a:pt x="5321168" y="6858000"/>
                </a:lnTo>
                <a:lnTo>
                  <a:pt x="5034359" y="6858000"/>
                </a:lnTo>
                <a:lnTo>
                  <a:pt x="4905375" y="6858000"/>
                </a:lnTo>
                <a:lnTo>
                  <a:pt x="3795943" y="6858000"/>
                </a:lnTo>
                <a:lnTo>
                  <a:pt x="3610776" y="6858000"/>
                </a:lnTo>
                <a:lnTo>
                  <a:pt x="3403631" y="6858000"/>
                </a:lnTo>
                <a:lnTo>
                  <a:pt x="3049581" y="6858000"/>
                </a:lnTo>
                <a:lnTo>
                  <a:pt x="1323974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t"/>
          <a:lstStyle/>
          <a:p>
            <a:endParaRPr lang="en-US" sz="1500" b="1" dirty="0">
              <a:solidFill>
                <a:schemeClr val="lt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0" name="Freeform 7">
            <a:extLst>
              <a:ext uri="{FF2B5EF4-FFF2-40B4-BE49-F238E27FC236}">
                <a16:creationId xmlns:a16="http://schemas.microsoft.com/office/drawing/2014/main" id="{24D3C988-3E69-4318-A477-A679F10DD9CA}"/>
              </a:ext>
            </a:extLst>
          </p:cNvPr>
          <p:cNvSpPr>
            <a:spLocks/>
          </p:cNvSpPr>
          <p:nvPr/>
        </p:nvSpPr>
        <p:spPr bwMode="auto">
          <a:xfrm>
            <a:off x="4496245" y="697655"/>
            <a:ext cx="1004178" cy="2677767"/>
          </a:xfrm>
          <a:custGeom>
            <a:avLst/>
            <a:gdLst>
              <a:gd name="T0" fmla="*/ 337 w 2569"/>
              <a:gd name="T1" fmla="*/ 3011 h 6047"/>
              <a:gd name="T2" fmla="*/ 2569 w 2569"/>
              <a:gd name="T3" fmla="*/ 6047 h 6047"/>
              <a:gd name="T4" fmla="*/ 1672 w 2569"/>
              <a:gd name="T5" fmla="*/ 3533 h 6047"/>
              <a:gd name="T6" fmla="*/ 668 w 2569"/>
              <a:gd name="T7" fmla="*/ 0 h 6047"/>
              <a:gd name="T8" fmla="*/ 337 w 2569"/>
              <a:gd name="T9" fmla="*/ 3011 h 60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69" h="6047">
                <a:moveTo>
                  <a:pt x="337" y="3011"/>
                </a:moveTo>
                <a:cubicBezTo>
                  <a:pt x="701" y="4092"/>
                  <a:pt x="1621" y="5071"/>
                  <a:pt x="2569" y="6047"/>
                </a:cubicBezTo>
                <a:cubicBezTo>
                  <a:pt x="2349" y="5190"/>
                  <a:pt x="2006" y="4355"/>
                  <a:pt x="1672" y="3533"/>
                </a:cubicBezTo>
                <a:cubicBezTo>
                  <a:pt x="1211" y="2394"/>
                  <a:pt x="756" y="1216"/>
                  <a:pt x="668" y="0"/>
                </a:cubicBezTo>
                <a:cubicBezTo>
                  <a:pt x="169" y="984"/>
                  <a:pt x="0" y="2011"/>
                  <a:pt x="337" y="3011"/>
                </a:cubicBezTo>
              </a:path>
            </a:pathLst>
          </a:custGeom>
          <a:gradFill>
            <a:gsLst>
              <a:gs pos="0">
                <a:schemeClr val="accent6"/>
              </a:gs>
              <a:gs pos="100000">
                <a:schemeClr val="accent6">
                  <a:lumMod val="60000"/>
                  <a:lumOff val="40000"/>
                </a:schemeClr>
              </a:gs>
            </a:gsLst>
            <a:path path="circle">
              <a:fillToRect l="50000" t="-80000" r="50000" b="180000"/>
            </a:path>
          </a:gra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900"/>
            <a:endParaRPr lang="en-US" sz="135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1" name="Freeform 11">
            <a:extLst>
              <a:ext uri="{FF2B5EF4-FFF2-40B4-BE49-F238E27FC236}">
                <a16:creationId xmlns:a16="http://schemas.microsoft.com/office/drawing/2014/main" id="{C96DEF9A-9EE5-45E9-ABCE-FACA7B12B6EF}"/>
              </a:ext>
            </a:extLst>
          </p:cNvPr>
          <p:cNvSpPr>
            <a:spLocks/>
          </p:cNvSpPr>
          <p:nvPr/>
        </p:nvSpPr>
        <p:spPr bwMode="auto">
          <a:xfrm>
            <a:off x="4749552" y="1"/>
            <a:ext cx="434239" cy="697655"/>
          </a:xfrm>
          <a:custGeom>
            <a:avLst/>
            <a:gdLst>
              <a:gd name="T0" fmla="*/ 20 w 1110"/>
              <a:gd name="T1" fmla="*/ 1572 h 1572"/>
              <a:gd name="T2" fmla="*/ 1110 w 1110"/>
              <a:gd name="T3" fmla="*/ 0 h 1572"/>
              <a:gd name="T4" fmla="*/ 150 w 1110"/>
              <a:gd name="T5" fmla="*/ 0 h 1572"/>
              <a:gd name="T6" fmla="*/ 8 w 1110"/>
              <a:gd name="T7" fmla="*/ 948 h 1572"/>
              <a:gd name="T8" fmla="*/ 20 w 1110"/>
              <a:gd name="T9" fmla="*/ 1572 h 1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10" h="1572">
                <a:moveTo>
                  <a:pt x="20" y="1572"/>
                </a:moveTo>
                <a:cubicBezTo>
                  <a:pt x="294" y="1032"/>
                  <a:pt x="667" y="504"/>
                  <a:pt x="1110" y="0"/>
                </a:cubicBezTo>
                <a:lnTo>
                  <a:pt x="150" y="0"/>
                </a:lnTo>
                <a:cubicBezTo>
                  <a:pt x="68" y="311"/>
                  <a:pt x="20" y="631"/>
                  <a:pt x="8" y="948"/>
                </a:cubicBezTo>
                <a:cubicBezTo>
                  <a:pt x="0" y="1157"/>
                  <a:pt x="5" y="1365"/>
                  <a:pt x="20" y="1572"/>
                </a:cubicBezTo>
              </a:path>
            </a:pathLst>
          </a:custGeom>
          <a:gradFill>
            <a:gsLst>
              <a:gs pos="0">
                <a:schemeClr val="accent6">
                  <a:lumMod val="60000"/>
                  <a:lumOff val="40000"/>
                </a:schemeClr>
              </a:gs>
              <a:gs pos="100000">
                <a:schemeClr val="accent6"/>
              </a:gs>
            </a:gsLst>
            <a:path path="circle">
              <a:fillToRect l="50000" t="-80000" r="50000" b="180000"/>
            </a:path>
          </a:gra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900"/>
            <a:endParaRPr lang="en-US" sz="135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2" name="Freeform 8">
            <a:extLst>
              <a:ext uri="{FF2B5EF4-FFF2-40B4-BE49-F238E27FC236}">
                <a16:creationId xmlns:a16="http://schemas.microsoft.com/office/drawing/2014/main" id="{4F9DEA32-3B07-481D-80E7-714094BAA9B1}"/>
              </a:ext>
            </a:extLst>
          </p:cNvPr>
          <p:cNvSpPr>
            <a:spLocks/>
          </p:cNvSpPr>
          <p:nvPr/>
        </p:nvSpPr>
        <p:spPr bwMode="auto">
          <a:xfrm>
            <a:off x="5428048" y="3375421"/>
            <a:ext cx="1164001" cy="1768079"/>
          </a:xfrm>
          <a:custGeom>
            <a:avLst/>
            <a:gdLst>
              <a:gd name="T0" fmla="*/ 187 w 2984"/>
              <a:gd name="T1" fmla="*/ 0 h 3986"/>
              <a:gd name="T2" fmla="*/ 422 w 2984"/>
              <a:gd name="T3" fmla="*/ 1621 h 3986"/>
              <a:gd name="T4" fmla="*/ 0 w 2984"/>
              <a:gd name="T5" fmla="*/ 3986 h 3986"/>
              <a:gd name="T6" fmla="*/ 2984 w 2984"/>
              <a:gd name="T7" fmla="*/ 3986 h 3986"/>
              <a:gd name="T8" fmla="*/ 1947 w 2984"/>
              <a:gd name="T9" fmla="*/ 1956 h 3986"/>
              <a:gd name="T10" fmla="*/ 187 w 2984"/>
              <a:gd name="T11" fmla="*/ 0 h 39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984" h="3986">
                <a:moveTo>
                  <a:pt x="187" y="0"/>
                </a:moveTo>
                <a:cubicBezTo>
                  <a:pt x="324" y="531"/>
                  <a:pt x="412" y="1071"/>
                  <a:pt x="422" y="1621"/>
                </a:cubicBezTo>
                <a:cubicBezTo>
                  <a:pt x="435" y="2440"/>
                  <a:pt x="274" y="3227"/>
                  <a:pt x="0" y="3986"/>
                </a:cubicBezTo>
                <a:lnTo>
                  <a:pt x="2984" y="3986"/>
                </a:lnTo>
                <a:cubicBezTo>
                  <a:pt x="2777" y="3291"/>
                  <a:pt x="2432" y="2609"/>
                  <a:pt x="1947" y="1956"/>
                </a:cubicBezTo>
                <a:cubicBezTo>
                  <a:pt x="1448" y="1286"/>
                  <a:pt x="812" y="643"/>
                  <a:pt x="187" y="0"/>
                </a:cubicBezTo>
              </a:path>
            </a:pathLst>
          </a:custGeom>
          <a:gradFill>
            <a:gsLst>
              <a:gs pos="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lumMod val="75000"/>
                </a:schemeClr>
              </a:gs>
            </a:gsLst>
            <a:path path="circle">
              <a:fillToRect l="50000" t="-80000" r="50000" b="180000"/>
            </a:path>
          </a:gra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900"/>
            <a:endParaRPr lang="en-US" sz="135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31CE1C23-33B1-4447-B96B-0E921621CD53}"/>
              </a:ext>
            </a:extLst>
          </p:cNvPr>
          <p:cNvSpPr txBox="1">
            <a:spLocks/>
          </p:cNvSpPr>
          <p:nvPr/>
        </p:nvSpPr>
        <p:spPr>
          <a:xfrm>
            <a:off x="296500" y="795782"/>
            <a:ext cx="4039017" cy="2462213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+mj-lt"/>
                <a:ea typeface="MS PGothic" panose="020B0600070205080204" pitchFamily="34" charset="-128"/>
                <a:cs typeface="+mj-cs"/>
              </a:defRPr>
            </a:lvl1pPr>
            <a:lvl2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342900" algn="ctr" defTabSz="342900" rtl="0" fontAlgn="base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685800" algn="ctr" defTabSz="342900" rtl="0" fontAlgn="base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1028700" algn="ctr" defTabSz="342900" rtl="0" fontAlgn="base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1371600" algn="ctr" defTabSz="342900" rtl="0" fontAlgn="base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buClrTx/>
              <a:buFontTx/>
            </a:pPr>
            <a:r>
              <a:rPr lang="en-US" sz="3200" b="1" dirty="0"/>
              <a:t>Advancements in </a:t>
            </a:r>
            <a:br>
              <a:rPr lang="en-US" sz="3200" b="1" dirty="0"/>
            </a:br>
            <a:r>
              <a:rPr lang="en-US" sz="3200" b="1" dirty="0"/>
              <a:t>the Development of Novel Neurosteroids for Treatment of Brain Injury</a:t>
            </a:r>
          </a:p>
        </p:txBody>
      </p:sp>
      <p:pic>
        <p:nvPicPr>
          <p:cNvPr id="16" name="Google Shape;43;p7">
            <a:extLst>
              <a:ext uri="{FF2B5EF4-FFF2-40B4-BE49-F238E27FC236}">
                <a16:creationId xmlns:a16="http://schemas.microsoft.com/office/drawing/2014/main" id="{1A1E5C97-5A8A-4F64-BECA-F64381BF065B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7865" y="3981045"/>
            <a:ext cx="3399975" cy="911613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Subtitle 4">
            <a:extLst>
              <a:ext uri="{FF2B5EF4-FFF2-40B4-BE49-F238E27FC236}">
                <a16:creationId xmlns:a16="http://schemas.microsoft.com/office/drawing/2014/main" id="{E39E9DE9-9AD1-F91D-6CC1-DFA2FAE2FE23}"/>
              </a:ext>
            </a:extLst>
          </p:cNvPr>
          <p:cNvSpPr txBox="1">
            <a:spLocks/>
          </p:cNvSpPr>
          <p:nvPr/>
        </p:nvSpPr>
        <p:spPr>
          <a:xfrm>
            <a:off x="296500" y="3386655"/>
            <a:ext cx="2607427" cy="397291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342900" rtl="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5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1pPr>
            <a:lvl2pPr marL="342900" indent="-171450" algn="l" defTabSz="342900" rtl="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5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2pPr>
            <a:lvl3pPr marL="514350" indent="-171450" algn="l" defTabSz="342900" rtl="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5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3pPr>
            <a:lvl4pPr marL="685800" indent="-171450" algn="l" defTabSz="342900" rtl="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5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4pPr>
            <a:lvl5pPr marL="857250" indent="-171450" algn="l" defTabSz="342900" rtl="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5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0"/>
              </a:spcAft>
              <a:buClr>
                <a:srgbClr val="DF6236"/>
              </a:buClr>
              <a:buSzPts val="2200"/>
              <a:buNone/>
            </a:pPr>
            <a:r>
              <a:rPr lang="en-US" sz="1400" b="1" dirty="0">
                <a:solidFill>
                  <a:schemeClr val="bg1"/>
                </a:solidFill>
                <a:latin typeface="Calibri"/>
                <a:cs typeface="Calibri"/>
                <a:sym typeface="Calibri"/>
              </a:rPr>
              <a:t>Arrowhead Conference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Clr>
                <a:srgbClr val="DF6236"/>
              </a:buClr>
              <a:buSzPts val="2200"/>
              <a:buNone/>
            </a:pPr>
            <a:r>
              <a:rPr lang="en-US" sz="1400" b="1" dirty="0">
                <a:solidFill>
                  <a:schemeClr val="bg1"/>
                </a:solidFill>
                <a:latin typeface="Calibri"/>
                <a:cs typeface="Calibri"/>
                <a:sym typeface="Calibri"/>
              </a:rPr>
              <a:t>June 7, 2022</a:t>
            </a:r>
          </a:p>
        </p:txBody>
      </p:sp>
    </p:spTree>
    <p:extLst>
      <p:ext uri="{BB962C8B-B14F-4D97-AF65-F5344CB8AC3E}">
        <p14:creationId xmlns:p14="http://schemas.microsoft.com/office/powerpoint/2010/main" val="15929456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237BEC55-6C64-2FAC-4FB2-B3E96480A3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0" name="Object 29" hidden="1">
                        <a:extLst>
                          <a:ext uri="{FF2B5EF4-FFF2-40B4-BE49-F238E27FC236}">
                            <a16:creationId xmlns:a16="http://schemas.microsoft.com/office/drawing/2014/main" id="{237BEC55-6C64-2FAC-4FB2-B3E96480A3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5BC53F9-75A4-4BF5-A45B-CFFB35AAE8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607" y="17968"/>
            <a:ext cx="8604931" cy="738664"/>
          </a:xfrm>
        </p:spPr>
        <p:txBody>
          <a:bodyPr vert="horz"/>
          <a:lstStyle/>
          <a:p>
            <a:r>
              <a:rPr lang="en-US" dirty="0"/>
              <a:t>Brain NTS-105 Concentrations Engage Molecular Targets After Systemic Administration Of Efficacious Dose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AF38D32-E56B-EA80-8720-86CDC8B96DB8}"/>
              </a:ext>
            </a:extLst>
          </p:cNvPr>
          <p:cNvSpPr txBox="1"/>
          <p:nvPr/>
        </p:nvSpPr>
        <p:spPr>
          <a:xfrm>
            <a:off x="267607" y="934249"/>
            <a:ext cx="4140000" cy="288000"/>
          </a:xfrm>
          <a:prstGeom prst="rect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1500" b="1">
                <a:solidFill>
                  <a:schemeClr val="l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Plasma concentration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7A47199-C8EF-9849-6803-BBD5590E159C}"/>
              </a:ext>
            </a:extLst>
          </p:cNvPr>
          <p:cNvSpPr txBox="1"/>
          <p:nvPr/>
        </p:nvSpPr>
        <p:spPr>
          <a:xfrm>
            <a:off x="4732538" y="934249"/>
            <a:ext cx="4140000" cy="288000"/>
          </a:xfrm>
          <a:prstGeom prst="rect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1500" b="1">
                <a:solidFill>
                  <a:schemeClr val="l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Brain concentration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1B226E4-CC82-3C8A-8A57-3634FF071DA5}"/>
              </a:ext>
            </a:extLst>
          </p:cNvPr>
          <p:cNvSpPr txBox="1"/>
          <p:nvPr/>
        </p:nvSpPr>
        <p:spPr>
          <a:xfrm>
            <a:off x="264432" y="4785148"/>
            <a:ext cx="8608106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8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udy CEAA-0026 CRL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4AE3D372-3189-7FF6-A591-26A0039D177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9216" y="1267640"/>
            <a:ext cx="2656783" cy="1753652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8B9E82DB-4522-304A-A98D-4A61536F631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32538" y="1267640"/>
            <a:ext cx="2532016" cy="1705062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67BD7668-976F-FB40-4A80-365AAC8D80F8}"/>
              </a:ext>
            </a:extLst>
          </p:cNvPr>
          <p:cNvSpPr txBox="1"/>
          <p:nvPr/>
        </p:nvSpPr>
        <p:spPr>
          <a:xfrm>
            <a:off x="7058556" y="2066753"/>
            <a:ext cx="120257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buClrTx/>
              <a:defRPr/>
            </a:pPr>
            <a:r>
              <a:rPr lang="en-US" sz="900" b="1" kern="1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tein binding &gt;99%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35F43B8-8894-C6D8-271F-807A169221E1}"/>
              </a:ext>
            </a:extLst>
          </p:cNvPr>
          <p:cNvSpPr txBox="1"/>
          <p:nvPr/>
        </p:nvSpPr>
        <p:spPr>
          <a:xfrm>
            <a:off x="7027922" y="1635332"/>
            <a:ext cx="1844616" cy="369332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0% target engagement level based on free NTS-105 concentration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26D5D7E-8910-70EF-FEC7-2AC0BC9FBFB4}"/>
              </a:ext>
            </a:extLst>
          </p:cNvPr>
          <p:cNvSpPr/>
          <p:nvPr/>
        </p:nvSpPr>
        <p:spPr>
          <a:xfrm>
            <a:off x="12641" y="3316826"/>
            <a:ext cx="9131359" cy="127150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BCF3BCD-026E-CD5B-2E46-4C0C0C30A7B5}"/>
              </a:ext>
            </a:extLst>
          </p:cNvPr>
          <p:cNvSpPr txBox="1"/>
          <p:nvPr/>
        </p:nvSpPr>
        <p:spPr>
          <a:xfrm>
            <a:off x="267607" y="3535809"/>
            <a:ext cx="1944735" cy="1015663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rain concentrations of free NTS-105 after IM dosing of effective NTS-104 doses are sufficient to bind to and activate progesterone receptor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420D32A-DFF7-878F-0F1A-E9DF75B3171A}"/>
              </a:ext>
            </a:extLst>
          </p:cNvPr>
          <p:cNvSpPr txBox="1"/>
          <p:nvPr/>
        </p:nvSpPr>
        <p:spPr>
          <a:xfrm>
            <a:off x="2490252" y="3535809"/>
            <a:ext cx="1942155" cy="1014984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actions evaluated against a broad range of safety-related receptors, enzymes and ion channel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1DEE2FB-AF17-57CA-2F1F-F4B5B059B3C9}"/>
              </a:ext>
            </a:extLst>
          </p:cNvPr>
          <p:cNvSpPr txBox="1"/>
          <p:nvPr/>
        </p:nvSpPr>
        <p:spPr>
          <a:xfrm>
            <a:off x="4710317" y="3535809"/>
            <a:ext cx="1942155" cy="1014984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ystemic and brain metabolism mediated</a:t>
            </a:r>
            <a:br>
              <a:rPr lang="en-US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y </a:t>
            </a:r>
            <a:r>
              <a:rPr lang="en-US" sz="12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urosteroid</a:t>
            </a:r>
            <a:br>
              <a:rPr lang="en-US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zymatic cascad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D81B5F8-E164-9ADE-41E2-0C53E39A18CB}"/>
              </a:ext>
            </a:extLst>
          </p:cNvPr>
          <p:cNvSpPr txBox="1"/>
          <p:nvPr/>
        </p:nvSpPr>
        <p:spPr>
          <a:xfrm>
            <a:off x="6930383" y="3535809"/>
            <a:ext cx="1942155" cy="1014984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jor metabolites of</a:t>
            </a:r>
            <a:br>
              <a:rPr lang="en-US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TS-105 have</a:t>
            </a:r>
            <a:br>
              <a:rPr lang="en-US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en identified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18765730-B6AA-C74C-8434-8E3EC04481CA}"/>
              </a:ext>
            </a:extLst>
          </p:cNvPr>
          <p:cNvGrpSpPr/>
          <p:nvPr/>
        </p:nvGrpSpPr>
        <p:grpSpPr>
          <a:xfrm rot="5400000">
            <a:off x="1019946" y="3040180"/>
            <a:ext cx="440057" cy="496182"/>
            <a:chOff x="-1567543" y="2066753"/>
            <a:chExt cx="776744" cy="875813"/>
          </a:xfrm>
        </p:grpSpPr>
        <p:sp>
          <p:nvSpPr>
            <p:cNvPr id="34" name="Google Shape;547;p3">
              <a:extLst>
                <a:ext uri="{FF2B5EF4-FFF2-40B4-BE49-F238E27FC236}">
                  <a16:creationId xmlns:a16="http://schemas.microsoft.com/office/drawing/2014/main" id="{FE2AA7C1-B3D2-912C-9F49-55834CD94D90}"/>
                </a:ext>
              </a:extLst>
            </p:cNvPr>
            <p:cNvSpPr/>
            <p:nvPr/>
          </p:nvSpPr>
          <p:spPr>
            <a:xfrm rot="10800000" flipH="1">
              <a:off x="-1567543" y="2066753"/>
              <a:ext cx="442125" cy="875813"/>
            </a:xfrm>
            <a:custGeom>
              <a:avLst/>
              <a:gdLst/>
              <a:ahLst/>
              <a:cxnLst/>
              <a:rect l="l" t="t" r="r" b="b"/>
              <a:pathLst>
                <a:path w="548958" h="1087438" extrusionOk="0">
                  <a:moveTo>
                    <a:pt x="543719" y="0"/>
                  </a:moveTo>
                  <a:lnTo>
                    <a:pt x="548958" y="528"/>
                  </a:lnTo>
                  <a:lnTo>
                    <a:pt x="548958" y="1086910"/>
                  </a:lnTo>
                  <a:lnTo>
                    <a:pt x="543719" y="1087438"/>
                  </a:lnTo>
                  <a:cubicBezTo>
                    <a:pt x="243431" y="1087438"/>
                    <a:pt x="0" y="844007"/>
                    <a:pt x="0" y="543719"/>
                  </a:cubicBezTo>
                  <a:cubicBezTo>
                    <a:pt x="0" y="243431"/>
                    <a:pt x="243431" y="0"/>
                    <a:pt x="543719" y="0"/>
                  </a:cubicBez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3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Roboto Light" panose="02000000000000000000" pitchFamily="2" charset="0"/>
                <a:cs typeface="Roboto Light" panose="02000000000000000000" pitchFamily="2" charset="0"/>
                <a:sym typeface="Calibri"/>
              </a:endParaRPr>
            </a:p>
          </p:txBody>
        </p:sp>
        <p:sp>
          <p:nvSpPr>
            <p:cNvPr id="37" name="Google Shape;548;p3">
              <a:extLst>
                <a:ext uri="{FF2B5EF4-FFF2-40B4-BE49-F238E27FC236}">
                  <a16:creationId xmlns:a16="http://schemas.microsoft.com/office/drawing/2014/main" id="{C8296FCE-2617-430A-6EA9-FD5E098524DE}"/>
                </a:ext>
              </a:extLst>
            </p:cNvPr>
            <p:cNvSpPr/>
            <p:nvPr/>
          </p:nvSpPr>
          <p:spPr>
            <a:xfrm rot="10800000" flipH="1">
              <a:off x="-1467530" y="2166188"/>
              <a:ext cx="676731" cy="67694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3600"/>
                <a:buFont typeface="Calibri"/>
                <a:buNone/>
                <a:tabLst/>
                <a:defRPr/>
              </a:pPr>
              <a:endParaRPr kumimoji="0" sz="1300" b="1" i="0" u="none" strike="noStrike" kern="0" cap="none" spc="0" normalizeH="0" baseline="0" noProof="0" dirty="0">
                <a:ln>
                  <a:noFill/>
                </a:ln>
                <a:solidFill>
                  <a:srgbClr val="DB0007"/>
                </a:solidFill>
                <a:effectLst/>
                <a:uLnTx/>
                <a:uFillTx/>
                <a:latin typeface="Arial"/>
                <a:ea typeface="Roboto Light" panose="02000000000000000000" pitchFamily="2" charset="0"/>
                <a:cs typeface="Roboto Light" panose="02000000000000000000" pitchFamily="2" charset="0"/>
                <a:sym typeface="Calibri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C6E4B263-8B7B-5833-C01D-6C7ED852CFBD}"/>
              </a:ext>
            </a:extLst>
          </p:cNvPr>
          <p:cNvGrpSpPr/>
          <p:nvPr/>
        </p:nvGrpSpPr>
        <p:grpSpPr>
          <a:xfrm rot="5400000">
            <a:off x="3241301" y="3040181"/>
            <a:ext cx="440057" cy="496182"/>
            <a:chOff x="-1567543" y="2066753"/>
            <a:chExt cx="776744" cy="875813"/>
          </a:xfrm>
        </p:grpSpPr>
        <p:sp>
          <p:nvSpPr>
            <p:cNvPr id="42" name="Google Shape;547;p3">
              <a:extLst>
                <a:ext uri="{FF2B5EF4-FFF2-40B4-BE49-F238E27FC236}">
                  <a16:creationId xmlns:a16="http://schemas.microsoft.com/office/drawing/2014/main" id="{6B62D9F5-1A23-19F0-289A-25D438F8758C}"/>
                </a:ext>
              </a:extLst>
            </p:cNvPr>
            <p:cNvSpPr/>
            <p:nvPr/>
          </p:nvSpPr>
          <p:spPr>
            <a:xfrm rot="10800000" flipH="1">
              <a:off x="-1567543" y="2066753"/>
              <a:ext cx="442125" cy="875813"/>
            </a:xfrm>
            <a:custGeom>
              <a:avLst/>
              <a:gdLst/>
              <a:ahLst/>
              <a:cxnLst/>
              <a:rect l="l" t="t" r="r" b="b"/>
              <a:pathLst>
                <a:path w="548958" h="1087438" extrusionOk="0">
                  <a:moveTo>
                    <a:pt x="543719" y="0"/>
                  </a:moveTo>
                  <a:lnTo>
                    <a:pt x="548958" y="528"/>
                  </a:lnTo>
                  <a:lnTo>
                    <a:pt x="548958" y="1086910"/>
                  </a:lnTo>
                  <a:lnTo>
                    <a:pt x="543719" y="1087438"/>
                  </a:lnTo>
                  <a:cubicBezTo>
                    <a:pt x="243431" y="1087438"/>
                    <a:pt x="0" y="844007"/>
                    <a:pt x="0" y="543719"/>
                  </a:cubicBezTo>
                  <a:cubicBezTo>
                    <a:pt x="0" y="243431"/>
                    <a:pt x="243431" y="0"/>
                    <a:pt x="543719" y="0"/>
                  </a:cubicBez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3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Roboto Light" panose="02000000000000000000" pitchFamily="2" charset="0"/>
                <a:cs typeface="Roboto Light" panose="02000000000000000000" pitchFamily="2" charset="0"/>
                <a:sym typeface="Calibri"/>
              </a:endParaRPr>
            </a:p>
          </p:txBody>
        </p:sp>
        <p:sp>
          <p:nvSpPr>
            <p:cNvPr id="43" name="Google Shape;548;p3">
              <a:extLst>
                <a:ext uri="{FF2B5EF4-FFF2-40B4-BE49-F238E27FC236}">
                  <a16:creationId xmlns:a16="http://schemas.microsoft.com/office/drawing/2014/main" id="{B59783B6-DD16-9712-5DC5-B52418AF4381}"/>
                </a:ext>
              </a:extLst>
            </p:cNvPr>
            <p:cNvSpPr/>
            <p:nvPr/>
          </p:nvSpPr>
          <p:spPr>
            <a:xfrm rot="10800000" flipH="1">
              <a:off x="-1467530" y="2166188"/>
              <a:ext cx="676731" cy="67694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3600"/>
                <a:buFont typeface="Calibri"/>
                <a:buNone/>
                <a:tabLst/>
                <a:defRPr/>
              </a:pPr>
              <a:endParaRPr kumimoji="0" sz="1300" b="1" i="0" u="none" strike="noStrike" kern="0" cap="none" spc="0" normalizeH="0" baseline="0" noProof="0" dirty="0">
                <a:ln>
                  <a:noFill/>
                </a:ln>
                <a:solidFill>
                  <a:srgbClr val="DB0007"/>
                </a:solidFill>
                <a:effectLst/>
                <a:uLnTx/>
                <a:uFillTx/>
                <a:latin typeface="Arial"/>
                <a:ea typeface="Roboto Light" panose="02000000000000000000" pitchFamily="2" charset="0"/>
                <a:cs typeface="Roboto Light" panose="02000000000000000000" pitchFamily="2" charset="0"/>
                <a:sym typeface="Calibri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4896FC3A-44C6-4B7D-A63C-16B8DF911817}"/>
              </a:ext>
            </a:extLst>
          </p:cNvPr>
          <p:cNvGrpSpPr/>
          <p:nvPr/>
        </p:nvGrpSpPr>
        <p:grpSpPr>
          <a:xfrm rot="5400000">
            <a:off x="5461366" y="3040182"/>
            <a:ext cx="440057" cy="496182"/>
            <a:chOff x="-1567543" y="2066753"/>
            <a:chExt cx="776744" cy="875813"/>
          </a:xfrm>
        </p:grpSpPr>
        <p:sp>
          <p:nvSpPr>
            <p:cNvPr id="45" name="Google Shape;547;p3">
              <a:extLst>
                <a:ext uri="{FF2B5EF4-FFF2-40B4-BE49-F238E27FC236}">
                  <a16:creationId xmlns:a16="http://schemas.microsoft.com/office/drawing/2014/main" id="{9386B26B-68ED-E648-277C-D7833A81C9D8}"/>
                </a:ext>
              </a:extLst>
            </p:cNvPr>
            <p:cNvSpPr/>
            <p:nvPr/>
          </p:nvSpPr>
          <p:spPr>
            <a:xfrm rot="10800000" flipH="1">
              <a:off x="-1567543" y="2066753"/>
              <a:ext cx="442125" cy="875813"/>
            </a:xfrm>
            <a:custGeom>
              <a:avLst/>
              <a:gdLst/>
              <a:ahLst/>
              <a:cxnLst/>
              <a:rect l="l" t="t" r="r" b="b"/>
              <a:pathLst>
                <a:path w="548958" h="1087438" extrusionOk="0">
                  <a:moveTo>
                    <a:pt x="543719" y="0"/>
                  </a:moveTo>
                  <a:lnTo>
                    <a:pt x="548958" y="528"/>
                  </a:lnTo>
                  <a:lnTo>
                    <a:pt x="548958" y="1086910"/>
                  </a:lnTo>
                  <a:lnTo>
                    <a:pt x="543719" y="1087438"/>
                  </a:lnTo>
                  <a:cubicBezTo>
                    <a:pt x="243431" y="1087438"/>
                    <a:pt x="0" y="844007"/>
                    <a:pt x="0" y="543719"/>
                  </a:cubicBezTo>
                  <a:cubicBezTo>
                    <a:pt x="0" y="243431"/>
                    <a:pt x="243431" y="0"/>
                    <a:pt x="543719" y="0"/>
                  </a:cubicBez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3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Roboto Light" panose="02000000000000000000" pitchFamily="2" charset="0"/>
                <a:cs typeface="Roboto Light" panose="02000000000000000000" pitchFamily="2" charset="0"/>
                <a:sym typeface="Calibri"/>
              </a:endParaRPr>
            </a:p>
          </p:txBody>
        </p:sp>
        <p:sp>
          <p:nvSpPr>
            <p:cNvPr id="46" name="Google Shape;548;p3">
              <a:extLst>
                <a:ext uri="{FF2B5EF4-FFF2-40B4-BE49-F238E27FC236}">
                  <a16:creationId xmlns:a16="http://schemas.microsoft.com/office/drawing/2014/main" id="{CAA8684D-C662-EF9D-F443-EDBDA004BDD7}"/>
                </a:ext>
              </a:extLst>
            </p:cNvPr>
            <p:cNvSpPr/>
            <p:nvPr/>
          </p:nvSpPr>
          <p:spPr>
            <a:xfrm rot="10800000" flipH="1">
              <a:off x="-1467530" y="2166188"/>
              <a:ext cx="676731" cy="67694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3600"/>
                <a:buFont typeface="Calibri"/>
                <a:buNone/>
                <a:tabLst/>
                <a:defRPr/>
              </a:pPr>
              <a:endParaRPr kumimoji="0" sz="1300" b="1" i="0" u="none" strike="noStrike" kern="0" cap="none" spc="0" normalizeH="0" baseline="0" noProof="0" dirty="0">
                <a:ln>
                  <a:noFill/>
                </a:ln>
                <a:solidFill>
                  <a:srgbClr val="DB0007"/>
                </a:solidFill>
                <a:effectLst/>
                <a:uLnTx/>
                <a:uFillTx/>
                <a:latin typeface="Arial"/>
                <a:ea typeface="Roboto Light" panose="02000000000000000000" pitchFamily="2" charset="0"/>
                <a:cs typeface="Roboto Light" panose="02000000000000000000" pitchFamily="2" charset="0"/>
                <a:sym typeface="Calibri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905B3C1-9154-987A-94AB-4E243E64AF23}"/>
              </a:ext>
            </a:extLst>
          </p:cNvPr>
          <p:cNvGrpSpPr/>
          <p:nvPr/>
        </p:nvGrpSpPr>
        <p:grpSpPr>
          <a:xfrm rot="5400000">
            <a:off x="7681432" y="3040183"/>
            <a:ext cx="440057" cy="496182"/>
            <a:chOff x="-1567543" y="2066753"/>
            <a:chExt cx="776744" cy="875813"/>
          </a:xfrm>
        </p:grpSpPr>
        <p:sp>
          <p:nvSpPr>
            <p:cNvPr id="48" name="Google Shape;547;p3">
              <a:extLst>
                <a:ext uri="{FF2B5EF4-FFF2-40B4-BE49-F238E27FC236}">
                  <a16:creationId xmlns:a16="http://schemas.microsoft.com/office/drawing/2014/main" id="{9EE699EA-BCA9-B0C1-0476-4A01B5467EBB}"/>
                </a:ext>
              </a:extLst>
            </p:cNvPr>
            <p:cNvSpPr/>
            <p:nvPr/>
          </p:nvSpPr>
          <p:spPr>
            <a:xfrm rot="10800000" flipH="1">
              <a:off x="-1567543" y="2066753"/>
              <a:ext cx="442125" cy="875813"/>
            </a:xfrm>
            <a:custGeom>
              <a:avLst/>
              <a:gdLst/>
              <a:ahLst/>
              <a:cxnLst/>
              <a:rect l="l" t="t" r="r" b="b"/>
              <a:pathLst>
                <a:path w="548958" h="1087438" extrusionOk="0">
                  <a:moveTo>
                    <a:pt x="543719" y="0"/>
                  </a:moveTo>
                  <a:lnTo>
                    <a:pt x="548958" y="528"/>
                  </a:lnTo>
                  <a:lnTo>
                    <a:pt x="548958" y="1086910"/>
                  </a:lnTo>
                  <a:lnTo>
                    <a:pt x="543719" y="1087438"/>
                  </a:lnTo>
                  <a:cubicBezTo>
                    <a:pt x="243431" y="1087438"/>
                    <a:pt x="0" y="844007"/>
                    <a:pt x="0" y="543719"/>
                  </a:cubicBezTo>
                  <a:cubicBezTo>
                    <a:pt x="0" y="243431"/>
                    <a:pt x="243431" y="0"/>
                    <a:pt x="543719" y="0"/>
                  </a:cubicBez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3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Roboto Light" panose="02000000000000000000" pitchFamily="2" charset="0"/>
                <a:cs typeface="Roboto Light" panose="02000000000000000000" pitchFamily="2" charset="0"/>
                <a:sym typeface="Calibri"/>
              </a:endParaRPr>
            </a:p>
          </p:txBody>
        </p:sp>
        <p:sp>
          <p:nvSpPr>
            <p:cNvPr id="49" name="Google Shape;548;p3">
              <a:extLst>
                <a:ext uri="{FF2B5EF4-FFF2-40B4-BE49-F238E27FC236}">
                  <a16:creationId xmlns:a16="http://schemas.microsoft.com/office/drawing/2014/main" id="{29804863-C1A0-9B61-F0F3-756B2DD9BCE4}"/>
                </a:ext>
              </a:extLst>
            </p:cNvPr>
            <p:cNvSpPr/>
            <p:nvPr/>
          </p:nvSpPr>
          <p:spPr>
            <a:xfrm rot="10800000" flipH="1">
              <a:off x="-1467530" y="2166188"/>
              <a:ext cx="676731" cy="67694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3600"/>
                <a:buFont typeface="Calibri"/>
                <a:buNone/>
                <a:tabLst/>
                <a:defRPr/>
              </a:pPr>
              <a:endParaRPr kumimoji="0" sz="1300" b="1" i="0" u="none" strike="noStrike" kern="0" cap="none" spc="0" normalizeH="0" baseline="0" noProof="0" dirty="0">
                <a:ln>
                  <a:noFill/>
                </a:ln>
                <a:solidFill>
                  <a:srgbClr val="DB0007"/>
                </a:solidFill>
                <a:effectLst/>
                <a:uLnTx/>
                <a:uFillTx/>
                <a:latin typeface="Arial"/>
                <a:ea typeface="Roboto Light" panose="02000000000000000000" pitchFamily="2" charset="0"/>
                <a:cs typeface="Roboto Light" panose="02000000000000000000" pitchFamily="2" charset="0"/>
                <a:sym typeface="Calibri"/>
              </a:endParaRPr>
            </a:p>
          </p:txBody>
        </p:sp>
      </p:grp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F39235B9-85FD-19E4-873F-EA456DBE808D}"/>
              </a:ext>
            </a:extLst>
          </p:cNvPr>
          <p:cNvCxnSpPr/>
          <p:nvPr/>
        </p:nvCxnSpPr>
        <p:spPr>
          <a:xfrm>
            <a:off x="2351297" y="3409950"/>
            <a:ext cx="0" cy="1132376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634315B5-91D6-276B-A510-8628620C1477}"/>
              </a:ext>
            </a:extLst>
          </p:cNvPr>
          <p:cNvCxnSpPr/>
          <p:nvPr/>
        </p:nvCxnSpPr>
        <p:spPr>
          <a:xfrm>
            <a:off x="4571362" y="3409950"/>
            <a:ext cx="0" cy="1132376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DC996020-BFF4-0BA6-F5BD-78892863E970}"/>
              </a:ext>
            </a:extLst>
          </p:cNvPr>
          <p:cNvCxnSpPr/>
          <p:nvPr/>
        </p:nvCxnSpPr>
        <p:spPr>
          <a:xfrm>
            <a:off x="6791427" y="3409950"/>
            <a:ext cx="0" cy="1132376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Graphic 54" descr="Left Brain outline">
            <a:extLst>
              <a:ext uri="{FF2B5EF4-FFF2-40B4-BE49-F238E27FC236}">
                <a16:creationId xmlns:a16="http://schemas.microsoft.com/office/drawing/2014/main" id="{5538FFD8-A916-CF94-00A6-2C1D28E0BE9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93951" y="3165479"/>
            <a:ext cx="311098" cy="311098"/>
          </a:xfrm>
          <a:prstGeom prst="rect">
            <a:avLst/>
          </a:prstGeom>
        </p:spPr>
      </p:pic>
      <p:pic>
        <p:nvPicPr>
          <p:cNvPr id="57" name="Graphic 56" descr="Brain outline">
            <a:extLst>
              <a:ext uri="{FF2B5EF4-FFF2-40B4-BE49-F238E27FC236}">
                <a16:creationId xmlns:a16="http://schemas.microsoft.com/office/drawing/2014/main" id="{346B5426-FBC9-EFDA-24AE-F8036854463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510780" y="3159260"/>
            <a:ext cx="314683" cy="314683"/>
          </a:xfrm>
          <a:prstGeom prst="rect">
            <a:avLst/>
          </a:prstGeom>
        </p:spPr>
      </p:pic>
      <p:grpSp>
        <p:nvGrpSpPr>
          <p:cNvPr id="129" name="Group 128">
            <a:extLst>
              <a:ext uri="{FF2B5EF4-FFF2-40B4-BE49-F238E27FC236}">
                <a16:creationId xmlns:a16="http://schemas.microsoft.com/office/drawing/2014/main" id="{9EA7CD64-3390-B41B-9E5F-F674CE8E783B}"/>
              </a:ext>
            </a:extLst>
          </p:cNvPr>
          <p:cNvGrpSpPr/>
          <p:nvPr/>
        </p:nvGrpSpPr>
        <p:grpSpPr>
          <a:xfrm>
            <a:off x="3332762" y="3214178"/>
            <a:ext cx="249700" cy="205296"/>
            <a:chOff x="-1225289" y="1027945"/>
            <a:chExt cx="654048" cy="537738"/>
          </a:xfrm>
        </p:grpSpPr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B4826ADA-7010-ECB1-780E-B9E7A816A554}"/>
                </a:ext>
              </a:extLst>
            </p:cNvPr>
            <p:cNvSpPr/>
            <p:nvPr/>
          </p:nvSpPr>
          <p:spPr>
            <a:xfrm>
              <a:off x="-827847" y="1027945"/>
              <a:ext cx="256606" cy="256601"/>
            </a:xfrm>
            <a:custGeom>
              <a:avLst/>
              <a:gdLst>
                <a:gd name="connsiteX0" fmla="*/ 128303 w 256606"/>
                <a:gd name="connsiteY0" fmla="*/ 0 h 256601"/>
                <a:gd name="connsiteX1" fmla="*/ 37579 w 256606"/>
                <a:gd name="connsiteY1" fmla="*/ 37579 h 256601"/>
                <a:gd name="connsiteX2" fmla="*/ 0 w 256606"/>
                <a:gd name="connsiteY2" fmla="*/ 128299 h 256601"/>
                <a:gd name="connsiteX3" fmla="*/ 37579 w 256606"/>
                <a:gd name="connsiteY3" fmla="*/ 219023 h 256601"/>
                <a:gd name="connsiteX4" fmla="*/ 128303 w 256606"/>
                <a:gd name="connsiteY4" fmla="*/ 256602 h 256601"/>
                <a:gd name="connsiteX5" fmla="*/ 219028 w 256606"/>
                <a:gd name="connsiteY5" fmla="*/ 219023 h 256601"/>
                <a:gd name="connsiteX6" fmla="*/ 256607 w 256606"/>
                <a:gd name="connsiteY6" fmla="*/ 128299 h 256601"/>
                <a:gd name="connsiteX7" fmla="*/ 219028 w 256606"/>
                <a:gd name="connsiteY7" fmla="*/ 37579 h 256601"/>
                <a:gd name="connsiteX8" fmla="*/ 128303 w 256606"/>
                <a:gd name="connsiteY8" fmla="*/ 0 h 256601"/>
                <a:gd name="connsiteX9" fmla="*/ 128303 w 256606"/>
                <a:gd name="connsiteY9" fmla="*/ 236878 h 256601"/>
                <a:gd name="connsiteX10" fmla="*/ 49491 w 256606"/>
                <a:gd name="connsiteY10" fmla="*/ 202647 h 256601"/>
                <a:gd name="connsiteX11" fmla="*/ 86447 w 256606"/>
                <a:gd name="connsiteY11" fmla="*/ 170708 h 256601"/>
                <a:gd name="connsiteX12" fmla="*/ 128303 w 256606"/>
                <a:gd name="connsiteY12" fmla="*/ 180626 h 256601"/>
                <a:gd name="connsiteX13" fmla="*/ 170272 w 256606"/>
                <a:gd name="connsiteY13" fmla="*/ 170708 h 256601"/>
                <a:gd name="connsiteX14" fmla="*/ 207335 w 256606"/>
                <a:gd name="connsiteY14" fmla="*/ 202428 h 256601"/>
                <a:gd name="connsiteX15" fmla="*/ 128303 w 256606"/>
                <a:gd name="connsiteY15" fmla="*/ 236877 h 256601"/>
                <a:gd name="connsiteX16" fmla="*/ 219871 w 256606"/>
                <a:gd name="connsiteY16" fmla="*/ 186627 h 256601"/>
                <a:gd name="connsiteX17" fmla="*/ 219871 w 256606"/>
                <a:gd name="connsiteY17" fmla="*/ 186622 h 256601"/>
                <a:gd name="connsiteX18" fmla="*/ 173761 w 256606"/>
                <a:gd name="connsiteY18" fmla="*/ 150869 h 256601"/>
                <a:gd name="connsiteX19" fmla="*/ 165040 w 256606"/>
                <a:gd name="connsiteY19" fmla="*/ 151414 h 256601"/>
                <a:gd name="connsiteX20" fmla="*/ 128303 w 256606"/>
                <a:gd name="connsiteY20" fmla="*/ 161118 h 256601"/>
                <a:gd name="connsiteX21" fmla="*/ 91679 w 256606"/>
                <a:gd name="connsiteY21" fmla="*/ 151414 h 256601"/>
                <a:gd name="connsiteX22" fmla="*/ 82958 w 256606"/>
                <a:gd name="connsiteY22" fmla="*/ 150869 h 256601"/>
                <a:gd name="connsiteX23" fmla="*/ 36736 w 256606"/>
                <a:gd name="connsiteY23" fmla="*/ 186622 h 256601"/>
                <a:gd name="connsiteX24" fmla="*/ 20380 w 256606"/>
                <a:gd name="connsiteY24" fmla="*/ 112132 h 256601"/>
                <a:gd name="connsiteX25" fmla="*/ 56854 w 256606"/>
                <a:gd name="connsiteY25" fmla="*/ 45150 h 256601"/>
                <a:gd name="connsiteX26" fmla="*/ 128303 w 256606"/>
                <a:gd name="connsiteY26" fmla="*/ 18467 h 256601"/>
                <a:gd name="connsiteX27" fmla="*/ 199753 w 256606"/>
                <a:gd name="connsiteY27" fmla="*/ 45150 h 256601"/>
                <a:gd name="connsiteX28" fmla="*/ 236227 w 256606"/>
                <a:gd name="connsiteY28" fmla="*/ 112132 h 256601"/>
                <a:gd name="connsiteX29" fmla="*/ 219871 w 256606"/>
                <a:gd name="connsiteY29" fmla="*/ 186622 h 256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56606" h="256601">
                  <a:moveTo>
                    <a:pt x="128303" y="0"/>
                  </a:moveTo>
                  <a:cubicBezTo>
                    <a:pt x="94278" y="0"/>
                    <a:pt x="61643" y="13515"/>
                    <a:pt x="37579" y="37579"/>
                  </a:cubicBezTo>
                  <a:cubicBezTo>
                    <a:pt x="13520" y="61638"/>
                    <a:pt x="0" y="94273"/>
                    <a:pt x="0" y="128299"/>
                  </a:cubicBezTo>
                  <a:cubicBezTo>
                    <a:pt x="0" y="162329"/>
                    <a:pt x="13520" y="194964"/>
                    <a:pt x="37579" y="219023"/>
                  </a:cubicBezTo>
                  <a:cubicBezTo>
                    <a:pt x="61643" y="243082"/>
                    <a:pt x="94278" y="256602"/>
                    <a:pt x="128303" y="256602"/>
                  </a:cubicBezTo>
                  <a:cubicBezTo>
                    <a:pt x="162334" y="256602"/>
                    <a:pt x="194969" y="243082"/>
                    <a:pt x="219028" y="219023"/>
                  </a:cubicBezTo>
                  <a:cubicBezTo>
                    <a:pt x="243087" y="194964"/>
                    <a:pt x="256607" y="162329"/>
                    <a:pt x="256607" y="128299"/>
                  </a:cubicBezTo>
                  <a:cubicBezTo>
                    <a:pt x="256607" y="94273"/>
                    <a:pt x="243087" y="61638"/>
                    <a:pt x="219028" y="37579"/>
                  </a:cubicBezTo>
                  <a:cubicBezTo>
                    <a:pt x="194969" y="13515"/>
                    <a:pt x="162334" y="0"/>
                    <a:pt x="128303" y="0"/>
                  </a:cubicBezTo>
                  <a:close/>
                  <a:moveTo>
                    <a:pt x="128303" y="236878"/>
                  </a:moveTo>
                  <a:cubicBezTo>
                    <a:pt x="98429" y="236854"/>
                    <a:pt x="69901" y="224464"/>
                    <a:pt x="49491" y="202647"/>
                  </a:cubicBezTo>
                  <a:cubicBezTo>
                    <a:pt x="58869" y="189012"/>
                    <a:pt x="71594" y="178014"/>
                    <a:pt x="86447" y="170708"/>
                  </a:cubicBezTo>
                  <a:cubicBezTo>
                    <a:pt x="99451" y="177190"/>
                    <a:pt x="113772" y="180582"/>
                    <a:pt x="128303" y="180626"/>
                  </a:cubicBezTo>
                  <a:cubicBezTo>
                    <a:pt x="142868" y="180597"/>
                    <a:pt x="157235" y="177200"/>
                    <a:pt x="170272" y="170708"/>
                  </a:cubicBezTo>
                  <a:cubicBezTo>
                    <a:pt x="185140" y="177935"/>
                    <a:pt x="197899" y="188860"/>
                    <a:pt x="207335" y="202428"/>
                  </a:cubicBezTo>
                  <a:cubicBezTo>
                    <a:pt x="186901" y="224360"/>
                    <a:pt x="158281" y="236833"/>
                    <a:pt x="128303" y="236877"/>
                  </a:cubicBezTo>
                  <a:close/>
                  <a:moveTo>
                    <a:pt x="219871" y="186627"/>
                  </a:moveTo>
                  <a:lnTo>
                    <a:pt x="219871" y="186622"/>
                  </a:lnTo>
                  <a:cubicBezTo>
                    <a:pt x="207797" y="170973"/>
                    <a:pt x="191927" y="158665"/>
                    <a:pt x="173761" y="150869"/>
                  </a:cubicBezTo>
                  <a:cubicBezTo>
                    <a:pt x="170928" y="149677"/>
                    <a:pt x="167702" y="149876"/>
                    <a:pt x="165040" y="151414"/>
                  </a:cubicBezTo>
                  <a:cubicBezTo>
                    <a:pt x="153832" y="157755"/>
                    <a:pt x="141180" y="161093"/>
                    <a:pt x="128303" y="161118"/>
                  </a:cubicBezTo>
                  <a:cubicBezTo>
                    <a:pt x="115460" y="161103"/>
                    <a:pt x="102842" y="157765"/>
                    <a:pt x="91679" y="151414"/>
                  </a:cubicBezTo>
                  <a:cubicBezTo>
                    <a:pt x="89017" y="149876"/>
                    <a:pt x="85791" y="149677"/>
                    <a:pt x="82958" y="150869"/>
                  </a:cubicBezTo>
                  <a:cubicBezTo>
                    <a:pt x="64777" y="158689"/>
                    <a:pt x="48874" y="170991"/>
                    <a:pt x="36736" y="186622"/>
                  </a:cubicBezTo>
                  <a:cubicBezTo>
                    <a:pt x="22492" y="164573"/>
                    <a:pt x="16686" y="138123"/>
                    <a:pt x="20380" y="112132"/>
                  </a:cubicBezTo>
                  <a:cubicBezTo>
                    <a:pt x="24079" y="86140"/>
                    <a:pt x="37028" y="62358"/>
                    <a:pt x="56854" y="45150"/>
                  </a:cubicBezTo>
                  <a:cubicBezTo>
                    <a:pt x="76680" y="27942"/>
                    <a:pt x="102053" y="18467"/>
                    <a:pt x="128303" y="18467"/>
                  </a:cubicBezTo>
                  <a:cubicBezTo>
                    <a:pt x="154558" y="18467"/>
                    <a:pt x="179927" y="27942"/>
                    <a:pt x="199753" y="45150"/>
                  </a:cubicBezTo>
                  <a:cubicBezTo>
                    <a:pt x="219579" y="62357"/>
                    <a:pt x="232533" y="86139"/>
                    <a:pt x="236227" y="112132"/>
                  </a:cubicBezTo>
                  <a:cubicBezTo>
                    <a:pt x="239925" y="138123"/>
                    <a:pt x="234115" y="164573"/>
                    <a:pt x="219871" y="186622"/>
                  </a:cubicBezTo>
                  <a:close/>
                </a:path>
              </a:pathLst>
            </a:custGeom>
            <a:solidFill>
              <a:srgbClr val="000000"/>
            </a:solidFill>
            <a:ln w="1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2478FFA1-E8C4-539D-EBAC-857474B2F902}"/>
                </a:ext>
              </a:extLst>
            </p:cNvPr>
            <p:cNvSpPr/>
            <p:nvPr/>
          </p:nvSpPr>
          <p:spPr>
            <a:xfrm>
              <a:off x="-744344" y="1076448"/>
              <a:ext cx="89606" cy="89601"/>
            </a:xfrm>
            <a:custGeom>
              <a:avLst/>
              <a:gdLst>
                <a:gd name="connsiteX0" fmla="*/ 44801 w 89606"/>
                <a:gd name="connsiteY0" fmla="*/ 0 h 89601"/>
                <a:gd name="connsiteX1" fmla="*/ 13120 w 89606"/>
                <a:gd name="connsiteY1" fmla="*/ 13120 h 89601"/>
                <a:gd name="connsiteX2" fmla="*/ 0 w 89606"/>
                <a:gd name="connsiteY2" fmla="*/ 44801 h 89601"/>
                <a:gd name="connsiteX3" fmla="*/ 13120 w 89606"/>
                <a:gd name="connsiteY3" fmla="*/ 76482 h 89601"/>
                <a:gd name="connsiteX4" fmla="*/ 44801 w 89606"/>
                <a:gd name="connsiteY4" fmla="*/ 89601 h 89601"/>
                <a:gd name="connsiteX5" fmla="*/ 76482 w 89606"/>
                <a:gd name="connsiteY5" fmla="*/ 76482 h 89601"/>
                <a:gd name="connsiteX6" fmla="*/ 89606 w 89606"/>
                <a:gd name="connsiteY6" fmla="*/ 44801 h 89601"/>
                <a:gd name="connsiteX7" fmla="*/ 76482 w 89606"/>
                <a:gd name="connsiteY7" fmla="*/ 13120 h 89601"/>
                <a:gd name="connsiteX8" fmla="*/ 44801 w 89606"/>
                <a:gd name="connsiteY8" fmla="*/ 0 h 89601"/>
                <a:gd name="connsiteX9" fmla="*/ 44801 w 89606"/>
                <a:gd name="connsiteY9" fmla="*/ 69873 h 89601"/>
                <a:gd name="connsiteX10" fmla="*/ 27116 w 89606"/>
                <a:gd name="connsiteY10" fmla="*/ 62466 h 89601"/>
                <a:gd name="connsiteX11" fmla="*/ 19841 w 89606"/>
                <a:gd name="connsiteY11" fmla="*/ 44728 h 89601"/>
                <a:gd name="connsiteX12" fmla="*/ 27219 w 89606"/>
                <a:gd name="connsiteY12" fmla="*/ 27034 h 89601"/>
                <a:gd name="connsiteX13" fmla="*/ 44946 w 89606"/>
                <a:gd name="connsiteY13" fmla="*/ 19729 h 89601"/>
                <a:gd name="connsiteX14" fmla="*/ 62651 w 89606"/>
                <a:gd name="connsiteY14" fmla="*/ 27087 h 89601"/>
                <a:gd name="connsiteX15" fmla="*/ 69984 w 89606"/>
                <a:gd name="connsiteY15" fmla="*/ 44801 h 89601"/>
                <a:gd name="connsiteX16" fmla="*/ 62602 w 89606"/>
                <a:gd name="connsiteY16" fmla="*/ 62569 h 89601"/>
                <a:gd name="connsiteX17" fmla="*/ 44801 w 89606"/>
                <a:gd name="connsiteY17" fmla="*/ 69874 h 89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606" h="89601">
                  <a:moveTo>
                    <a:pt x="44801" y="0"/>
                  </a:moveTo>
                  <a:cubicBezTo>
                    <a:pt x="32922" y="0"/>
                    <a:pt x="21524" y="4720"/>
                    <a:pt x="13120" y="13120"/>
                  </a:cubicBezTo>
                  <a:cubicBezTo>
                    <a:pt x="4720" y="21524"/>
                    <a:pt x="0" y="32917"/>
                    <a:pt x="0" y="44801"/>
                  </a:cubicBezTo>
                  <a:cubicBezTo>
                    <a:pt x="0" y="56684"/>
                    <a:pt x="4720" y="68077"/>
                    <a:pt x="13120" y="76482"/>
                  </a:cubicBezTo>
                  <a:cubicBezTo>
                    <a:pt x="21524" y="84881"/>
                    <a:pt x="32922" y="89601"/>
                    <a:pt x="44801" y="89601"/>
                  </a:cubicBezTo>
                  <a:cubicBezTo>
                    <a:pt x="56684" y="89601"/>
                    <a:pt x="68082" y="84881"/>
                    <a:pt x="76482" y="76482"/>
                  </a:cubicBezTo>
                  <a:cubicBezTo>
                    <a:pt x="84886" y="68077"/>
                    <a:pt x="89606" y="56684"/>
                    <a:pt x="89606" y="44801"/>
                  </a:cubicBezTo>
                  <a:cubicBezTo>
                    <a:pt x="89606" y="32917"/>
                    <a:pt x="84886" y="21524"/>
                    <a:pt x="76482" y="13120"/>
                  </a:cubicBezTo>
                  <a:cubicBezTo>
                    <a:pt x="68082" y="4720"/>
                    <a:pt x="56684" y="0"/>
                    <a:pt x="44801" y="0"/>
                  </a:cubicBezTo>
                  <a:close/>
                  <a:moveTo>
                    <a:pt x="44801" y="69873"/>
                  </a:moveTo>
                  <a:cubicBezTo>
                    <a:pt x="38158" y="69843"/>
                    <a:pt x="31797" y="67181"/>
                    <a:pt x="27116" y="62466"/>
                  </a:cubicBezTo>
                  <a:cubicBezTo>
                    <a:pt x="22440" y="57750"/>
                    <a:pt x="19821" y="51370"/>
                    <a:pt x="19841" y="44728"/>
                  </a:cubicBezTo>
                  <a:cubicBezTo>
                    <a:pt x="19860" y="38085"/>
                    <a:pt x="22513" y="31720"/>
                    <a:pt x="27219" y="27034"/>
                  </a:cubicBezTo>
                  <a:cubicBezTo>
                    <a:pt x="31929" y="22347"/>
                    <a:pt x="38304" y="19719"/>
                    <a:pt x="44946" y="19729"/>
                  </a:cubicBezTo>
                  <a:cubicBezTo>
                    <a:pt x="51589" y="19739"/>
                    <a:pt x="57959" y="22386"/>
                    <a:pt x="62651" y="27087"/>
                  </a:cubicBezTo>
                  <a:cubicBezTo>
                    <a:pt x="67347" y="31788"/>
                    <a:pt x="69984" y="38158"/>
                    <a:pt x="69984" y="44801"/>
                  </a:cubicBezTo>
                  <a:cubicBezTo>
                    <a:pt x="69984" y="51468"/>
                    <a:pt x="67327" y="57862"/>
                    <a:pt x="62602" y="62569"/>
                  </a:cubicBezTo>
                  <a:cubicBezTo>
                    <a:pt x="57877" y="67275"/>
                    <a:pt x="51468" y="69903"/>
                    <a:pt x="44801" y="69874"/>
                  </a:cubicBezTo>
                  <a:close/>
                </a:path>
              </a:pathLst>
            </a:custGeom>
            <a:solidFill>
              <a:srgbClr val="000000"/>
            </a:solidFill>
            <a:ln w="1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8F156084-88A5-E1CC-6DDF-0EB111213581}"/>
                </a:ext>
              </a:extLst>
            </p:cNvPr>
            <p:cNvSpPr/>
            <p:nvPr/>
          </p:nvSpPr>
          <p:spPr>
            <a:xfrm>
              <a:off x="-1225289" y="1309075"/>
              <a:ext cx="256608" cy="256608"/>
            </a:xfrm>
            <a:custGeom>
              <a:avLst/>
              <a:gdLst>
                <a:gd name="connsiteX0" fmla="*/ 1 w 256608"/>
                <a:gd name="connsiteY0" fmla="*/ 128198 h 256608"/>
                <a:gd name="connsiteX1" fmla="*/ 37516 w 256608"/>
                <a:gd name="connsiteY1" fmla="*/ 218966 h 256608"/>
                <a:gd name="connsiteX2" fmla="*/ 128231 w 256608"/>
                <a:gd name="connsiteY2" fmla="*/ 256608 h 256608"/>
                <a:gd name="connsiteX3" fmla="*/ 218991 w 256608"/>
                <a:gd name="connsiteY3" fmla="*/ 219068 h 256608"/>
                <a:gd name="connsiteX4" fmla="*/ 256608 w 256608"/>
                <a:gd name="connsiteY4" fmla="*/ 128338 h 256608"/>
                <a:gd name="connsiteX5" fmla="*/ 219040 w 256608"/>
                <a:gd name="connsiteY5" fmla="*/ 37594 h 256608"/>
                <a:gd name="connsiteX6" fmla="*/ 128305 w 256608"/>
                <a:gd name="connsiteY6" fmla="*/ 0 h 256608"/>
                <a:gd name="connsiteX7" fmla="*/ 37652 w 256608"/>
                <a:gd name="connsiteY7" fmla="*/ 37574 h 256608"/>
                <a:gd name="connsiteX8" fmla="*/ 0 w 256608"/>
                <a:gd name="connsiteY8" fmla="*/ 128196 h 256608"/>
                <a:gd name="connsiteX9" fmla="*/ 128307 w 256608"/>
                <a:gd name="connsiteY9" fmla="*/ 237206 h 256608"/>
                <a:gd name="connsiteX10" fmla="*/ 49276 w 256608"/>
                <a:gd name="connsiteY10" fmla="*/ 202975 h 256608"/>
                <a:gd name="connsiteX11" fmla="*/ 86338 w 256608"/>
                <a:gd name="connsiteY11" fmla="*/ 171143 h 256608"/>
                <a:gd name="connsiteX12" fmla="*/ 170163 w 256608"/>
                <a:gd name="connsiteY12" fmla="*/ 171143 h 256608"/>
                <a:gd name="connsiteX13" fmla="*/ 207118 w 256608"/>
                <a:gd name="connsiteY13" fmla="*/ 202648 h 256608"/>
                <a:gd name="connsiteX14" fmla="*/ 128306 w 256608"/>
                <a:gd name="connsiteY14" fmla="*/ 236875 h 256608"/>
                <a:gd name="connsiteX15" fmla="*/ 128307 w 256608"/>
                <a:gd name="connsiteY15" fmla="*/ 19949 h 256608"/>
                <a:gd name="connsiteX16" fmla="*/ 128307 w 256608"/>
                <a:gd name="connsiteY16" fmla="*/ 19944 h 256608"/>
                <a:gd name="connsiteX17" fmla="*/ 198982 w 256608"/>
                <a:gd name="connsiteY17" fmla="*/ 46647 h 256608"/>
                <a:gd name="connsiteX18" fmla="*/ 235320 w 256608"/>
                <a:gd name="connsiteY18" fmla="*/ 112884 h 256608"/>
                <a:gd name="connsiteX19" fmla="*/ 219874 w 256608"/>
                <a:gd name="connsiteY19" fmla="*/ 186839 h 256608"/>
                <a:gd name="connsiteX20" fmla="*/ 173652 w 256608"/>
                <a:gd name="connsiteY20" fmla="*/ 151193 h 256608"/>
                <a:gd name="connsiteX21" fmla="*/ 164932 w 256608"/>
                <a:gd name="connsiteY21" fmla="*/ 151738 h 256608"/>
                <a:gd name="connsiteX22" fmla="*/ 91570 w 256608"/>
                <a:gd name="connsiteY22" fmla="*/ 151738 h 256608"/>
                <a:gd name="connsiteX23" fmla="*/ 82849 w 256608"/>
                <a:gd name="connsiteY23" fmla="*/ 151193 h 256608"/>
                <a:gd name="connsiteX24" fmla="*/ 36739 w 256608"/>
                <a:gd name="connsiteY24" fmla="*/ 186839 h 256608"/>
                <a:gd name="connsiteX25" fmla="*/ 19624 w 256608"/>
                <a:gd name="connsiteY25" fmla="*/ 128194 h 256608"/>
                <a:gd name="connsiteX26" fmla="*/ 51591 w 256608"/>
                <a:gd name="connsiteY26" fmla="*/ 51508 h 256608"/>
                <a:gd name="connsiteX27" fmla="*/ 128306 w 256608"/>
                <a:gd name="connsiteY27" fmla="*/ 19618 h 256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56608" h="256608">
                  <a:moveTo>
                    <a:pt x="1" y="128198"/>
                  </a:moveTo>
                  <a:cubicBezTo>
                    <a:pt x="-28" y="162228"/>
                    <a:pt x="13467" y="194882"/>
                    <a:pt x="37516" y="218966"/>
                  </a:cubicBezTo>
                  <a:cubicBezTo>
                    <a:pt x="61567" y="243045"/>
                    <a:pt x="94196" y="256588"/>
                    <a:pt x="128231" y="256608"/>
                  </a:cubicBezTo>
                  <a:cubicBezTo>
                    <a:pt x="162267" y="256628"/>
                    <a:pt x="194911" y="243124"/>
                    <a:pt x="218991" y="219068"/>
                  </a:cubicBezTo>
                  <a:cubicBezTo>
                    <a:pt x="243065" y="195009"/>
                    <a:pt x="256599" y="162374"/>
                    <a:pt x="256608" y="128338"/>
                  </a:cubicBezTo>
                  <a:cubicBezTo>
                    <a:pt x="256618" y="94308"/>
                    <a:pt x="243104" y="61663"/>
                    <a:pt x="219040" y="37594"/>
                  </a:cubicBezTo>
                  <a:cubicBezTo>
                    <a:pt x="194980" y="13525"/>
                    <a:pt x="162335" y="0"/>
                    <a:pt x="128305" y="0"/>
                  </a:cubicBezTo>
                  <a:cubicBezTo>
                    <a:pt x="94303" y="29"/>
                    <a:pt x="61702" y="13543"/>
                    <a:pt x="37652" y="37574"/>
                  </a:cubicBezTo>
                  <a:cubicBezTo>
                    <a:pt x="13597" y="61604"/>
                    <a:pt x="59" y="94194"/>
                    <a:pt x="0" y="128196"/>
                  </a:cubicBezTo>
                  <a:close/>
                  <a:moveTo>
                    <a:pt x="128307" y="237206"/>
                  </a:moveTo>
                  <a:cubicBezTo>
                    <a:pt x="98364" y="237216"/>
                    <a:pt x="69749" y="224826"/>
                    <a:pt x="49276" y="202975"/>
                  </a:cubicBezTo>
                  <a:cubicBezTo>
                    <a:pt x="58746" y="189407"/>
                    <a:pt x="71496" y="178457"/>
                    <a:pt x="86338" y="171143"/>
                  </a:cubicBezTo>
                  <a:cubicBezTo>
                    <a:pt x="112681" y="184526"/>
                    <a:pt x="143826" y="184526"/>
                    <a:pt x="170163" y="171143"/>
                  </a:cubicBezTo>
                  <a:cubicBezTo>
                    <a:pt x="184928" y="178384"/>
                    <a:pt x="197634" y="189217"/>
                    <a:pt x="207118" y="202648"/>
                  </a:cubicBezTo>
                  <a:cubicBezTo>
                    <a:pt x="186708" y="224465"/>
                    <a:pt x="158182" y="236855"/>
                    <a:pt x="128306" y="236875"/>
                  </a:cubicBezTo>
                  <a:close/>
                  <a:moveTo>
                    <a:pt x="128307" y="19949"/>
                  </a:moveTo>
                  <a:lnTo>
                    <a:pt x="128307" y="19944"/>
                  </a:lnTo>
                  <a:cubicBezTo>
                    <a:pt x="154294" y="20139"/>
                    <a:pt x="179361" y="29609"/>
                    <a:pt x="198982" y="46647"/>
                  </a:cubicBezTo>
                  <a:cubicBezTo>
                    <a:pt x="218604" y="63690"/>
                    <a:pt x="231490" y="87179"/>
                    <a:pt x="235320" y="112884"/>
                  </a:cubicBezTo>
                  <a:cubicBezTo>
                    <a:pt x="239155" y="138589"/>
                    <a:pt x="233675" y="164820"/>
                    <a:pt x="219874" y="186839"/>
                  </a:cubicBezTo>
                  <a:cubicBezTo>
                    <a:pt x="207698" y="171267"/>
                    <a:pt x="191805" y="159008"/>
                    <a:pt x="173652" y="151193"/>
                  </a:cubicBezTo>
                  <a:cubicBezTo>
                    <a:pt x="170820" y="150001"/>
                    <a:pt x="167593" y="150200"/>
                    <a:pt x="164932" y="151738"/>
                  </a:cubicBezTo>
                  <a:cubicBezTo>
                    <a:pt x="142186" y="164668"/>
                    <a:pt x="114316" y="164668"/>
                    <a:pt x="91570" y="151738"/>
                  </a:cubicBezTo>
                  <a:cubicBezTo>
                    <a:pt x="88908" y="150200"/>
                    <a:pt x="85681" y="150001"/>
                    <a:pt x="82849" y="151193"/>
                  </a:cubicBezTo>
                  <a:cubicBezTo>
                    <a:pt x="64711" y="158984"/>
                    <a:pt x="48847" y="171248"/>
                    <a:pt x="36739" y="186839"/>
                  </a:cubicBezTo>
                  <a:cubicBezTo>
                    <a:pt x="25488" y="169354"/>
                    <a:pt x="19541" y="148983"/>
                    <a:pt x="19624" y="128194"/>
                  </a:cubicBezTo>
                  <a:cubicBezTo>
                    <a:pt x="19741" y="99413"/>
                    <a:pt x="31230" y="71850"/>
                    <a:pt x="51591" y="51508"/>
                  </a:cubicBezTo>
                  <a:cubicBezTo>
                    <a:pt x="71948" y="31167"/>
                    <a:pt x="99527" y="19706"/>
                    <a:pt x="128306" y="19618"/>
                  </a:cubicBezTo>
                  <a:close/>
                </a:path>
              </a:pathLst>
            </a:custGeom>
            <a:solidFill>
              <a:srgbClr val="000000"/>
            </a:solidFill>
            <a:ln w="1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2085E40F-E51E-2C4F-3508-F6CDE3D62944}"/>
                </a:ext>
              </a:extLst>
            </p:cNvPr>
            <p:cNvSpPr/>
            <p:nvPr/>
          </p:nvSpPr>
          <p:spPr>
            <a:xfrm>
              <a:off x="-1141788" y="1357583"/>
              <a:ext cx="89606" cy="89606"/>
            </a:xfrm>
            <a:custGeom>
              <a:avLst/>
              <a:gdLst>
                <a:gd name="connsiteX0" fmla="*/ 44806 w 89606"/>
                <a:gd name="connsiteY0" fmla="*/ 89606 h 89606"/>
                <a:gd name="connsiteX1" fmla="*/ 76487 w 89606"/>
                <a:gd name="connsiteY1" fmla="*/ 76486 h 89606"/>
                <a:gd name="connsiteX2" fmla="*/ 89606 w 89606"/>
                <a:gd name="connsiteY2" fmla="*/ 44806 h 89606"/>
                <a:gd name="connsiteX3" fmla="*/ 76487 w 89606"/>
                <a:gd name="connsiteY3" fmla="*/ 13125 h 89606"/>
                <a:gd name="connsiteX4" fmla="*/ 44806 w 89606"/>
                <a:gd name="connsiteY4" fmla="*/ 0 h 89606"/>
                <a:gd name="connsiteX5" fmla="*/ 13125 w 89606"/>
                <a:gd name="connsiteY5" fmla="*/ 13125 h 89606"/>
                <a:gd name="connsiteX6" fmla="*/ 0 w 89606"/>
                <a:gd name="connsiteY6" fmla="*/ 44806 h 89606"/>
                <a:gd name="connsiteX7" fmla="*/ 13125 w 89606"/>
                <a:gd name="connsiteY7" fmla="*/ 76486 h 89606"/>
                <a:gd name="connsiteX8" fmla="*/ 44806 w 89606"/>
                <a:gd name="connsiteY8" fmla="*/ 89606 h 89606"/>
                <a:gd name="connsiteX9" fmla="*/ 44806 w 89606"/>
                <a:gd name="connsiteY9" fmla="*/ 19622 h 89606"/>
                <a:gd name="connsiteX10" fmla="*/ 62612 w 89606"/>
                <a:gd name="connsiteY10" fmla="*/ 26999 h 89606"/>
                <a:gd name="connsiteX11" fmla="*/ 69985 w 89606"/>
                <a:gd name="connsiteY11" fmla="*/ 44805 h 89606"/>
                <a:gd name="connsiteX12" fmla="*/ 62612 w 89606"/>
                <a:gd name="connsiteY12" fmla="*/ 62607 h 89606"/>
                <a:gd name="connsiteX13" fmla="*/ 44806 w 89606"/>
                <a:gd name="connsiteY13" fmla="*/ 69984 h 89606"/>
                <a:gd name="connsiteX14" fmla="*/ 26999 w 89606"/>
                <a:gd name="connsiteY14" fmla="*/ 62607 h 89606"/>
                <a:gd name="connsiteX15" fmla="*/ 19622 w 89606"/>
                <a:gd name="connsiteY15" fmla="*/ 44805 h 89606"/>
                <a:gd name="connsiteX16" fmla="*/ 26999 w 89606"/>
                <a:gd name="connsiteY16" fmla="*/ 26999 h 89606"/>
                <a:gd name="connsiteX17" fmla="*/ 44806 w 89606"/>
                <a:gd name="connsiteY17" fmla="*/ 19622 h 89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606" h="89606">
                  <a:moveTo>
                    <a:pt x="44806" y="89606"/>
                  </a:moveTo>
                  <a:cubicBezTo>
                    <a:pt x="56685" y="89606"/>
                    <a:pt x="68082" y="84886"/>
                    <a:pt x="76487" y="76486"/>
                  </a:cubicBezTo>
                  <a:cubicBezTo>
                    <a:pt x="84886" y="68082"/>
                    <a:pt x="89606" y="56684"/>
                    <a:pt x="89606" y="44806"/>
                  </a:cubicBezTo>
                  <a:cubicBezTo>
                    <a:pt x="89606" y="32922"/>
                    <a:pt x="84886" y="21524"/>
                    <a:pt x="76487" y="13125"/>
                  </a:cubicBezTo>
                  <a:cubicBezTo>
                    <a:pt x="68082" y="4720"/>
                    <a:pt x="56684" y="0"/>
                    <a:pt x="44806" y="0"/>
                  </a:cubicBezTo>
                  <a:cubicBezTo>
                    <a:pt x="32922" y="0"/>
                    <a:pt x="21524" y="4720"/>
                    <a:pt x="13125" y="13125"/>
                  </a:cubicBezTo>
                  <a:cubicBezTo>
                    <a:pt x="4720" y="21524"/>
                    <a:pt x="0" y="32922"/>
                    <a:pt x="0" y="44806"/>
                  </a:cubicBezTo>
                  <a:cubicBezTo>
                    <a:pt x="0" y="56685"/>
                    <a:pt x="4721" y="68082"/>
                    <a:pt x="13125" y="76486"/>
                  </a:cubicBezTo>
                  <a:cubicBezTo>
                    <a:pt x="21524" y="84886"/>
                    <a:pt x="32922" y="89606"/>
                    <a:pt x="44806" y="89606"/>
                  </a:cubicBezTo>
                  <a:close/>
                  <a:moveTo>
                    <a:pt x="44806" y="19622"/>
                  </a:moveTo>
                  <a:cubicBezTo>
                    <a:pt x="51482" y="19622"/>
                    <a:pt x="57887" y="22274"/>
                    <a:pt x="62612" y="26999"/>
                  </a:cubicBezTo>
                  <a:cubicBezTo>
                    <a:pt x="67332" y="31720"/>
                    <a:pt x="69985" y="38124"/>
                    <a:pt x="69985" y="44805"/>
                  </a:cubicBezTo>
                  <a:cubicBezTo>
                    <a:pt x="69985" y="51482"/>
                    <a:pt x="67332" y="57886"/>
                    <a:pt x="62612" y="62607"/>
                  </a:cubicBezTo>
                  <a:cubicBezTo>
                    <a:pt x="57887" y="67332"/>
                    <a:pt x="51482" y="69984"/>
                    <a:pt x="44806" y="69984"/>
                  </a:cubicBezTo>
                  <a:cubicBezTo>
                    <a:pt x="38124" y="69984"/>
                    <a:pt x="31720" y="67332"/>
                    <a:pt x="26999" y="62607"/>
                  </a:cubicBezTo>
                  <a:cubicBezTo>
                    <a:pt x="22279" y="57886"/>
                    <a:pt x="19622" y="51482"/>
                    <a:pt x="19622" y="44805"/>
                  </a:cubicBezTo>
                  <a:cubicBezTo>
                    <a:pt x="19622" y="38124"/>
                    <a:pt x="22279" y="31719"/>
                    <a:pt x="26999" y="26999"/>
                  </a:cubicBezTo>
                  <a:cubicBezTo>
                    <a:pt x="31720" y="22274"/>
                    <a:pt x="38124" y="19622"/>
                    <a:pt x="44806" y="19622"/>
                  </a:cubicBezTo>
                  <a:close/>
                </a:path>
              </a:pathLst>
            </a:custGeom>
            <a:solidFill>
              <a:srgbClr val="000000"/>
            </a:solidFill>
            <a:ln w="1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FBE3145B-C9B3-7F67-09D8-BBDB955DE9E6}"/>
                </a:ext>
              </a:extLst>
            </p:cNvPr>
            <p:cNvSpPr/>
            <p:nvPr/>
          </p:nvSpPr>
          <p:spPr>
            <a:xfrm>
              <a:off x="-925682" y="1344498"/>
              <a:ext cx="248941" cy="138333"/>
            </a:xfrm>
            <a:custGeom>
              <a:avLst/>
              <a:gdLst>
                <a:gd name="connsiteX0" fmla="*/ 8881 w 248941"/>
                <a:gd name="connsiteY0" fmla="*/ 118600 h 138333"/>
                <a:gd name="connsiteX1" fmla="*/ 0 w 248941"/>
                <a:gd name="connsiteY1" fmla="*/ 128469 h 138333"/>
                <a:gd name="connsiteX2" fmla="*/ 8881 w 248941"/>
                <a:gd name="connsiteY2" fmla="*/ 138333 h 138333"/>
                <a:gd name="connsiteX3" fmla="*/ 217193 w 248941"/>
                <a:gd name="connsiteY3" fmla="*/ 138333 h 138333"/>
                <a:gd name="connsiteX4" fmla="*/ 227116 w 248941"/>
                <a:gd name="connsiteY4" fmla="*/ 128411 h 138333"/>
                <a:gd name="connsiteX5" fmla="*/ 227116 w 248941"/>
                <a:gd name="connsiteY5" fmla="*/ 33466 h 138333"/>
                <a:gd name="connsiteX6" fmla="*/ 232128 w 248941"/>
                <a:gd name="connsiteY6" fmla="*/ 38479 h 138333"/>
                <a:gd name="connsiteX7" fmla="*/ 246080 w 248941"/>
                <a:gd name="connsiteY7" fmla="*/ 38479 h 138333"/>
                <a:gd name="connsiteX8" fmla="*/ 246080 w 248941"/>
                <a:gd name="connsiteY8" fmla="*/ 24639 h 138333"/>
                <a:gd name="connsiteX9" fmla="*/ 224278 w 248941"/>
                <a:gd name="connsiteY9" fmla="*/ 2837 h 138333"/>
                <a:gd name="connsiteX10" fmla="*/ 217305 w 248941"/>
                <a:gd name="connsiteY10" fmla="*/ 0 h 138333"/>
                <a:gd name="connsiteX11" fmla="*/ 210438 w 248941"/>
                <a:gd name="connsiteY11" fmla="*/ 2837 h 138333"/>
                <a:gd name="connsiteX12" fmla="*/ 188636 w 248941"/>
                <a:gd name="connsiteY12" fmla="*/ 24639 h 138333"/>
                <a:gd name="connsiteX13" fmla="*/ 188690 w 248941"/>
                <a:gd name="connsiteY13" fmla="*/ 38537 h 138333"/>
                <a:gd name="connsiteX14" fmla="*/ 202588 w 248941"/>
                <a:gd name="connsiteY14" fmla="*/ 38479 h 138333"/>
                <a:gd name="connsiteX15" fmla="*/ 207601 w 248941"/>
                <a:gd name="connsiteY15" fmla="*/ 33467 h 138333"/>
                <a:gd name="connsiteX16" fmla="*/ 207601 w 248941"/>
                <a:gd name="connsiteY16" fmla="*/ 118600 h 138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8941" h="138333">
                  <a:moveTo>
                    <a:pt x="8881" y="118600"/>
                  </a:moveTo>
                  <a:cubicBezTo>
                    <a:pt x="3835" y="119135"/>
                    <a:pt x="0" y="123389"/>
                    <a:pt x="0" y="128469"/>
                  </a:cubicBezTo>
                  <a:cubicBezTo>
                    <a:pt x="0" y="133545"/>
                    <a:pt x="3835" y="137803"/>
                    <a:pt x="8881" y="138333"/>
                  </a:cubicBezTo>
                  <a:lnTo>
                    <a:pt x="217193" y="138333"/>
                  </a:lnTo>
                  <a:cubicBezTo>
                    <a:pt x="222673" y="138333"/>
                    <a:pt x="227116" y="133890"/>
                    <a:pt x="227116" y="128411"/>
                  </a:cubicBezTo>
                  <a:lnTo>
                    <a:pt x="227116" y="33466"/>
                  </a:lnTo>
                  <a:lnTo>
                    <a:pt x="232128" y="38479"/>
                  </a:lnTo>
                  <a:cubicBezTo>
                    <a:pt x="235992" y="42304"/>
                    <a:pt x="242216" y="42304"/>
                    <a:pt x="246080" y="38479"/>
                  </a:cubicBezTo>
                  <a:cubicBezTo>
                    <a:pt x="249895" y="34654"/>
                    <a:pt x="249895" y="28464"/>
                    <a:pt x="246080" y="24639"/>
                  </a:cubicBezTo>
                  <a:lnTo>
                    <a:pt x="224278" y="2837"/>
                  </a:lnTo>
                  <a:cubicBezTo>
                    <a:pt x="222424" y="1003"/>
                    <a:pt x="219913" y="-19"/>
                    <a:pt x="217305" y="0"/>
                  </a:cubicBezTo>
                  <a:cubicBezTo>
                    <a:pt x="214725" y="-14"/>
                    <a:pt x="212253" y="1008"/>
                    <a:pt x="210438" y="2837"/>
                  </a:cubicBezTo>
                  <a:lnTo>
                    <a:pt x="188636" y="24639"/>
                  </a:lnTo>
                  <a:cubicBezTo>
                    <a:pt x="184811" y="28488"/>
                    <a:pt x="184836" y="34713"/>
                    <a:pt x="188690" y="38537"/>
                  </a:cubicBezTo>
                  <a:cubicBezTo>
                    <a:pt x="192544" y="42357"/>
                    <a:pt x="198764" y="42333"/>
                    <a:pt x="202588" y="38479"/>
                  </a:cubicBezTo>
                  <a:lnTo>
                    <a:pt x="207601" y="33467"/>
                  </a:lnTo>
                  <a:lnTo>
                    <a:pt x="207601" y="118600"/>
                  </a:lnTo>
                  <a:close/>
                </a:path>
              </a:pathLst>
            </a:custGeom>
            <a:solidFill>
              <a:srgbClr val="000000"/>
            </a:solidFill>
            <a:ln w="1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5146A323-8265-365C-7873-F318B0083F75}"/>
                </a:ext>
              </a:extLst>
            </p:cNvPr>
            <p:cNvSpPr/>
            <p:nvPr/>
          </p:nvSpPr>
          <p:spPr>
            <a:xfrm>
              <a:off x="-1128303" y="1129432"/>
              <a:ext cx="249886" cy="138321"/>
            </a:xfrm>
            <a:custGeom>
              <a:avLst/>
              <a:gdLst>
                <a:gd name="connsiteX0" fmla="*/ 240069 w 249886"/>
                <a:gd name="connsiteY0" fmla="*/ 0 h 138321"/>
                <a:gd name="connsiteX1" fmla="*/ 31645 w 249886"/>
                <a:gd name="connsiteY1" fmla="*/ 0 h 138321"/>
                <a:gd name="connsiteX2" fmla="*/ 21834 w 249886"/>
                <a:gd name="connsiteY2" fmla="*/ 9811 h 138321"/>
                <a:gd name="connsiteX3" fmla="*/ 21834 w 249886"/>
                <a:gd name="connsiteY3" fmla="*/ 104755 h 138321"/>
                <a:gd name="connsiteX4" fmla="*/ 16710 w 249886"/>
                <a:gd name="connsiteY4" fmla="*/ 99743 h 138321"/>
                <a:gd name="connsiteX5" fmla="*/ 2865 w 249886"/>
                <a:gd name="connsiteY5" fmla="*/ 99743 h 138321"/>
                <a:gd name="connsiteX6" fmla="*/ 2865 w 249886"/>
                <a:gd name="connsiteY6" fmla="*/ 113695 h 138321"/>
                <a:gd name="connsiteX7" fmla="*/ 24667 w 249886"/>
                <a:gd name="connsiteY7" fmla="*/ 135496 h 138321"/>
                <a:gd name="connsiteX8" fmla="*/ 38624 w 249886"/>
                <a:gd name="connsiteY8" fmla="*/ 135496 h 138321"/>
                <a:gd name="connsiteX9" fmla="*/ 60425 w 249886"/>
                <a:gd name="connsiteY9" fmla="*/ 113695 h 138321"/>
                <a:gd name="connsiteX10" fmla="*/ 60425 w 249886"/>
                <a:gd name="connsiteY10" fmla="*/ 99743 h 138321"/>
                <a:gd name="connsiteX11" fmla="*/ 46581 w 249886"/>
                <a:gd name="connsiteY11" fmla="*/ 99743 h 138321"/>
                <a:gd name="connsiteX12" fmla="*/ 41456 w 249886"/>
                <a:gd name="connsiteY12" fmla="*/ 104867 h 138321"/>
                <a:gd name="connsiteX13" fmla="*/ 41456 w 249886"/>
                <a:gd name="connsiteY13" fmla="*/ 19622 h 138321"/>
                <a:gd name="connsiteX14" fmla="*/ 240076 w 249886"/>
                <a:gd name="connsiteY14" fmla="*/ 19622 h 138321"/>
                <a:gd name="connsiteX15" fmla="*/ 249886 w 249886"/>
                <a:gd name="connsiteY15" fmla="*/ 9811 h 138321"/>
                <a:gd name="connsiteX16" fmla="*/ 240076 w 249886"/>
                <a:gd name="connsiteY16" fmla="*/ 0 h 138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9886" h="138321">
                  <a:moveTo>
                    <a:pt x="240069" y="0"/>
                  </a:moveTo>
                  <a:lnTo>
                    <a:pt x="31645" y="0"/>
                  </a:lnTo>
                  <a:cubicBezTo>
                    <a:pt x="26229" y="0"/>
                    <a:pt x="21834" y="4394"/>
                    <a:pt x="21834" y="9811"/>
                  </a:cubicBezTo>
                  <a:lnTo>
                    <a:pt x="21834" y="104755"/>
                  </a:lnTo>
                  <a:lnTo>
                    <a:pt x="16710" y="99743"/>
                  </a:lnTo>
                  <a:cubicBezTo>
                    <a:pt x="12885" y="95932"/>
                    <a:pt x="6695" y="95932"/>
                    <a:pt x="2865" y="99743"/>
                  </a:cubicBezTo>
                  <a:cubicBezTo>
                    <a:pt x="-955" y="103607"/>
                    <a:pt x="-955" y="109831"/>
                    <a:pt x="2865" y="113695"/>
                  </a:cubicBezTo>
                  <a:lnTo>
                    <a:pt x="24667" y="135496"/>
                  </a:lnTo>
                  <a:cubicBezTo>
                    <a:pt x="28560" y="139263"/>
                    <a:pt x="34731" y="139263"/>
                    <a:pt x="38624" y="135496"/>
                  </a:cubicBezTo>
                  <a:lnTo>
                    <a:pt x="60425" y="113695"/>
                  </a:lnTo>
                  <a:cubicBezTo>
                    <a:pt x="64245" y="109831"/>
                    <a:pt x="64245" y="103607"/>
                    <a:pt x="60425" y="99743"/>
                  </a:cubicBezTo>
                  <a:cubicBezTo>
                    <a:pt x="56595" y="95932"/>
                    <a:pt x="50405" y="95932"/>
                    <a:pt x="46581" y="99743"/>
                  </a:cubicBezTo>
                  <a:lnTo>
                    <a:pt x="41456" y="104867"/>
                  </a:lnTo>
                  <a:lnTo>
                    <a:pt x="41456" y="19622"/>
                  </a:lnTo>
                  <a:lnTo>
                    <a:pt x="240076" y="19622"/>
                  </a:lnTo>
                  <a:cubicBezTo>
                    <a:pt x="245492" y="19622"/>
                    <a:pt x="249886" y="15227"/>
                    <a:pt x="249886" y="9811"/>
                  </a:cubicBezTo>
                  <a:cubicBezTo>
                    <a:pt x="249886" y="4394"/>
                    <a:pt x="245492" y="0"/>
                    <a:pt x="240076" y="0"/>
                  </a:cubicBezTo>
                  <a:close/>
                </a:path>
              </a:pathLst>
            </a:custGeom>
            <a:solidFill>
              <a:srgbClr val="000000"/>
            </a:solidFill>
            <a:ln w="1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A6314DE2-B14C-B2A6-01FA-EE6407A80653}"/>
                </a:ext>
              </a:extLst>
            </p:cNvPr>
            <p:cNvSpPr/>
            <p:nvPr/>
          </p:nvSpPr>
          <p:spPr>
            <a:xfrm>
              <a:off x="-978956" y="1200313"/>
              <a:ext cx="116934" cy="90666"/>
            </a:xfrm>
            <a:custGeom>
              <a:avLst/>
              <a:gdLst>
                <a:gd name="connsiteX0" fmla="*/ 108711 w 116934"/>
                <a:gd name="connsiteY0" fmla="*/ 6073 h 90666"/>
                <a:gd name="connsiteX1" fmla="*/ 78408 w 116934"/>
                <a:gd name="connsiteY1" fmla="*/ 185 h 90666"/>
                <a:gd name="connsiteX2" fmla="*/ 78408 w 116934"/>
                <a:gd name="connsiteY2" fmla="*/ 189 h 90666"/>
                <a:gd name="connsiteX3" fmla="*/ 66851 w 116934"/>
                <a:gd name="connsiteY3" fmla="*/ 7927 h 90666"/>
                <a:gd name="connsiteX4" fmla="*/ 74593 w 116934"/>
                <a:gd name="connsiteY4" fmla="*/ 19485 h 90666"/>
                <a:gd name="connsiteX5" fmla="*/ 81679 w 116934"/>
                <a:gd name="connsiteY5" fmla="*/ 20794 h 90666"/>
                <a:gd name="connsiteX6" fmla="*/ 4390 w 116934"/>
                <a:gd name="connsiteY6" fmla="*/ 72679 h 90666"/>
                <a:gd name="connsiteX7" fmla="*/ 438 w 116934"/>
                <a:gd name="connsiteY7" fmla="*/ 83751 h 90666"/>
                <a:gd name="connsiteX8" fmla="*/ 9947 w 116934"/>
                <a:gd name="connsiteY8" fmla="*/ 90666 h 90666"/>
                <a:gd name="connsiteX9" fmla="*/ 15398 w 116934"/>
                <a:gd name="connsiteY9" fmla="*/ 89031 h 90666"/>
                <a:gd name="connsiteX10" fmla="*/ 92249 w 116934"/>
                <a:gd name="connsiteY10" fmla="*/ 37145 h 90666"/>
                <a:gd name="connsiteX11" fmla="*/ 91597 w 116934"/>
                <a:gd name="connsiteY11" fmla="*/ 44119 h 90666"/>
                <a:gd name="connsiteX12" fmla="*/ 99447 w 116934"/>
                <a:gd name="connsiteY12" fmla="*/ 55672 h 90666"/>
                <a:gd name="connsiteX13" fmla="*/ 101301 w 116934"/>
                <a:gd name="connsiteY13" fmla="*/ 55672 h 90666"/>
                <a:gd name="connsiteX14" fmla="*/ 110893 w 116934"/>
                <a:gd name="connsiteY14" fmla="*/ 47715 h 90666"/>
                <a:gd name="connsiteX15" fmla="*/ 116781 w 116934"/>
                <a:gd name="connsiteY15" fmla="*/ 17300 h 90666"/>
                <a:gd name="connsiteX16" fmla="*/ 116776 w 116934"/>
                <a:gd name="connsiteY16" fmla="*/ 17305 h 90666"/>
                <a:gd name="connsiteX17" fmla="*/ 115136 w 116934"/>
                <a:gd name="connsiteY17" fmla="*/ 9971 h 90666"/>
                <a:gd name="connsiteX18" fmla="*/ 108713 w 116934"/>
                <a:gd name="connsiteY18" fmla="*/ 6073 h 90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6934" h="90666">
                  <a:moveTo>
                    <a:pt x="108711" y="6073"/>
                  </a:moveTo>
                  <a:lnTo>
                    <a:pt x="78408" y="185"/>
                  </a:lnTo>
                  <a:lnTo>
                    <a:pt x="78408" y="189"/>
                  </a:lnTo>
                  <a:cubicBezTo>
                    <a:pt x="73080" y="-867"/>
                    <a:pt x="67907" y="2598"/>
                    <a:pt x="66851" y="7927"/>
                  </a:cubicBezTo>
                  <a:cubicBezTo>
                    <a:pt x="65799" y="13256"/>
                    <a:pt x="69264" y="18429"/>
                    <a:pt x="74593" y="19485"/>
                  </a:cubicBezTo>
                  <a:lnTo>
                    <a:pt x="81679" y="20794"/>
                  </a:lnTo>
                  <a:lnTo>
                    <a:pt x="4390" y="72679"/>
                  </a:lnTo>
                  <a:cubicBezTo>
                    <a:pt x="759" y="75083"/>
                    <a:pt x="-846" y="79595"/>
                    <a:pt x="438" y="83751"/>
                  </a:cubicBezTo>
                  <a:cubicBezTo>
                    <a:pt x="1723" y="87911"/>
                    <a:pt x="5597" y="90724"/>
                    <a:pt x="9947" y="90666"/>
                  </a:cubicBezTo>
                  <a:cubicBezTo>
                    <a:pt x="11889" y="90666"/>
                    <a:pt x="13782" y="90096"/>
                    <a:pt x="15398" y="89031"/>
                  </a:cubicBezTo>
                  <a:lnTo>
                    <a:pt x="92249" y="37145"/>
                  </a:lnTo>
                  <a:lnTo>
                    <a:pt x="91597" y="44119"/>
                  </a:lnTo>
                  <a:cubicBezTo>
                    <a:pt x="90599" y="49472"/>
                    <a:pt x="94103" y="54630"/>
                    <a:pt x="99447" y="55672"/>
                  </a:cubicBezTo>
                  <a:lnTo>
                    <a:pt x="101301" y="55672"/>
                  </a:lnTo>
                  <a:cubicBezTo>
                    <a:pt x="105987" y="55652"/>
                    <a:pt x="110007" y="52319"/>
                    <a:pt x="110893" y="47715"/>
                  </a:cubicBezTo>
                  <a:lnTo>
                    <a:pt x="116781" y="17300"/>
                  </a:lnTo>
                  <a:lnTo>
                    <a:pt x="116776" y="17305"/>
                  </a:lnTo>
                  <a:cubicBezTo>
                    <a:pt x="117248" y="14735"/>
                    <a:pt x="116654" y="12093"/>
                    <a:pt x="115136" y="9971"/>
                  </a:cubicBezTo>
                  <a:cubicBezTo>
                    <a:pt x="113613" y="7854"/>
                    <a:pt x="111292" y="6448"/>
                    <a:pt x="108713" y="6073"/>
                  </a:cubicBezTo>
                  <a:close/>
                </a:path>
              </a:pathLst>
            </a:custGeom>
            <a:solidFill>
              <a:srgbClr val="000000"/>
            </a:solidFill>
            <a:ln w="1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71BB5CCD-7A33-F285-ABD5-63152FDE6FB2}"/>
                </a:ext>
              </a:extLst>
            </p:cNvPr>
            <p:cNvSpPr/>
            <p:nvPr/>
          </p:nvSpPr>
          <p:spPr>
            <a:xfrm>
              <a:off x="-922307" y="1301983"/>
              <a:ext cx="115567" cy="90484"/>
            </a:xfrm>
            <a:custGeom>
              <a:avLst/>
              <a:gdLst>
                <a:gd name="connsiteX0" fmla="*/ 100350 w 115567"/>
                <a:gd name="connsiteY0" fmla="*/ 1639 h 90484"/>
                <a:gd name="connsiteX1" fmla="*/ 24044 w 115567"/>
                <a:gd name="connsiteY1" fmla="*/ 53524 h 90484"/>
                <a:gd name="connsiteX2" fmla="*/ 25353 w 115567"/>
                <a:gd name="connsiteY2" fmla="*/ 46546 h 90484"/>
                <a:gd name="connsiteX3" fmla="*/ 25353 w 115567"/>
                <a:gd name="connsiteY3" fmla="*/ 46551 h 90484"/>
                <a:gd name="connsiteX4" fmla="*/ 17611 w 115567"/>
                <a:gd name="connsiteY4" fmla="*/ 34998 h 90484"/>
                <a:gd name="connsiteX5" fmla="*/ 6058 w 115567"/>
                <a:gd name="connsiteY5" fmla="*/ 42735 h 90484"/>
                <a:gd name="connsiteX6" fmla="*/ 170 w 115567"/>
                <a:gd name="connsiteY6" fmla="*/ 73038 h 90484"/>
                <a:gd name="connsiteX7" fmla="*/ 8019 w 115567"/>
                <a:gd name="connsiteY7" fmla="*/ 84596 h 90484"/>
                <a:gd name="connsiteX8" fmla="*/ 38322 w 115567"/>
                <a:gd name="connsiteY8" fmla="*/ 90485 h 90484"/>
                <a:gd name="connsiteX9" fmla="*/ 40176 w 115567"/>
                <a:gd name="connsiteY9" fmla="*/ 90485 h 90484"/>
                <a:gd name="connsiteX10" fmla="*/ 40176 w 115567"/>
                <a:gd name="connsiteY10" fmla="*/ 90480 h 90484"/>
                <a:gd name="connsiteX11" fmla="*/ 49569 w 115567"/>
                <a:gd name="connsiteY11" fmla="*/ 81501 h 90484"/>
                <a:gd name="connsiteX12" fmla="*/ 41812 w 115567"/>
                <a:gd name="connsiteY12" fmla="*/ 71077 h 90484"/>
                <a:gd name="connsiteX13" fmla="*/ 34945 w 115567"/>
                <a:gd name="connsiteY13" fmla="*/ 69768 h 90484"/>
                <a:gd name="connsiteX14" fmla="*/ 111251 w 115567"/>
                <a:gd name="connsiteY14" fmla="*/ 17990 h 90484"/>
                <a:gd name="connsiteX15" fmla="*/ 113869 w 115567"/>
                <a:gd name="connsiteY15" fmla="*/ 4257 h 90484"/>
                <a:gd name="connsiteX16" fmla="*/ 100350 w 115567"/>
                <a:gd name="connsiteY16" fmla="*/ 1639 h 90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5567" h="90484">
                  <a:moveTo>
                    <a:pt x="100350" y="1639"/>
                  </a:moveTo>
                  <a:lnTo>
                    <a:pt x="24044" y="53524"/>
                  </a:lnTo>
                  <a:lnTo>
                    <a:pt x="25353" y="46546"/>
                  </a:lnTo>
                  <a:lnTo>
                    <a:pt x="25353" y="46551"/>
                  </a:lnTo>
                  <a:cubicBezTo>
                    <a:pt x="26405" y="41222"/>
                    <a:pt x="22940" y="36049"/>
                    <a:pt x="17611" y="34998"/>
                  </a:cubicBezTo>
                  <a:cubicBezTo>
                    <a:pt x="12287" y="33942"/>
                    <a:pt x="7109" y="37407"/>
                    <a:pt x="6058" y="42735"/>
                  </a:cubicBezTo>
                  <a:lnTo>
                    <a:pt x="170" y="73038"/>
                  </a:lnTo>
                  <a:cubicBezTo>
                    <a:pt x="-828" y="78392"/>
                    <a:pt x="2676" y="83550"/>
                    <a:pt x="8019" y="84596"/>
                  </a:cubicBezTo>
                  <a:lnTo>
                    <a:pt x="38322" y="90485"/>
                  </a:lnTo>
                  <a:lnTo>
                    <a:pt x="40176" y="90485"/>
                  </a:lnTo>
                  <a:lnTo>
                    <a:pt x="40176" y="90480"/>
                  </a:lnTo>
                  <a:cubicBezTo>
                    <a:pt x="45126" y="90285"/>
                    <a:pt x="49150" y="86436"/>
                    <a:pt x="49569" y="81501"/>
                  </a:cubicBezTo>
                  <a:cubicBezTo>
                    <a:pt x="49982" y="76567"/>
                    <a:pt x="46659" y="72099"/>
                    <a:pt x="41812" y="71077"/>
                  </a:cubicBezTo>
                  <a:lnTo>
                    <a:pt x="34945" y="69768"/>
                  </a:lnTo>
                  <a:lnTo>
                    <a:pt x="111251" y="17990"/>
                  </a:lnTo>
                  <a:cubicBezTo>
                    <a:pt x="115748" y="14909"/>
                    <a:pt x="116920" y="8773"/>
                    <a:pt x="113869" y="4257"/>
                  </a:cubicBezTo>
                  <a:cubicBezTo>
                    <a:pt x="110832" y="-161"/>
                    <a:pt x="104813" y="-1325"/>
                    <a:pt x="100350" y="1639"/>
                  </a:cubicBezTo>
                  <a:close/>
                </a:path>
              </a:pathLst>
            </a:custGeom>
            <a:solidFill>
              <a:srgbClr val="000000"/>
            </a:solidFill>
            <a:ln w="12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A136EDC3-B150-344B-BE28-C662B3363F1A}"/>
              </a:ext>
            </a:extLst>
          </p:cNvPr>
          <p:cNvSpPr/>
          <p:nvPr/>
        </p:nvSpPr>
        <p:spPr>
          <a:xfrm>
            <a:off x="7775115" y="3182643"/>
            <a:ext cx="252690" cy="257272"/>
          </a:xfrm>
          <a:custGeom>
            <a:avLst/>
            <a:gdLst>
              <a:gd name="connsiteX0" fmla="*/ 787320 w 1170880"/>
              <a:gd name="connsiteY0" fmla="*/ 9 h 1192108"/>
              <a:gd name="connsiteX1" fmla="*/ 1170880 w 1170880"/>
              <a:gd name="connsiteY1" fmla="*/ 383569 h 1192108"/>
              <a:gd name="connsiteX2" fmla="*/ 787320 w 1170880"/>
              <a:gd name="connsiteY2" fmla="*/ 767130 h 1192108"/>
              <a:gd name="connsiteX3" fmla="*/ 604487 w 1170880"/>
              <a:gd name="connsiteY3" fmla="*/ 720838 h 1192108"/>
              <a:gd name="connsiteX4" fmla="*/ 559958 w 1170880"/>
              <a:gd name="connsiteY4" fmla="*/ 690769 h 1192108"/>
              <a:gd name="connsiteX5" fmla="*/ 565255 w 1170880"/>
              <a:gd name="connsiteY5" fmla="*/ 713295 h 1192108"/>
              <a:gd name="connsiteX6" fmla="*/ 484502 w 1170880"/>
              <a:gd name="connsiteY6" fmla="*/ 794048 h 1192108"/>
              <a:gd name="connsiteX7" fmla="*/ 473118 w 1170880"/>
              <a:gd name="connsiteY7" fmla="*/ 792909 h 1192108"/>
              <a:gd name="connsiteX8" fmla="*/ 463040 w 1170880"/>
              <a:gd name="connsiteY8" fmla="*/ 852780 h 1192108"/>
              <a:gd name="connsiteX9" fmla="*/ 139489 w 1170880"/>
              <a:gd name="connsiteY9" fmla="*/ 1176330 h 1192108"/>
              <a:gd name="connsiteX10" fmla="*/ 63352 w 1170880"/>
              <a:gd name="connsiteY10" fmla="*/ 1176330 h 1192108"/>
              <a:gd name="connsiteX11" fmla="*/ 15779 w 1170880"/>
              <a:gd name="connsiteY11" fmla="*/ 1128757 h 1192108"/>
              <a:gd name="connsiteX12" fmla="*/ 15779 w 1170880"/>
              <a:gd name="connsiteY12" fmla="*/ 1052620 h 1192108"/>
              <a:gd name="connsiteX13" fmla="*/ 339329 w 1170880"/>
              <a:gd name="connsiteY13" fmla="*/ 729069 h 1192108"/>
              <a:gd name="connsiteX14" fmla="*/ 387667 w 1170880"/>
              <a:gd name="connsiteY14" fmla="*/ 714284 h 1192108"/>
              <a:gd name="connsiteX15" fmla="*/ 404522 w 1170880"/>
              <a:gd name="connsiteY15" fmla="*/ 720878 h 1192108"/>
              <a:gd name="connsiteX16" fmla="*/ 403757 w 1170880"/>
              <a:gd name="connsiteY16" fmla="*/ 713295 h 1192108"/>
              <a:gd name="connsiteX17" fmla="*/ 484501 w 1170880"/>
              <a:gd name="connsiteY17" fmla="*/ 632551 h 1192108"/>
              <a:gd name="connsiteX18" fmla="*/ 497665 w 1170880"/>
              <a:gd name="connsiteY18" fmla="*/ 633881 h 1192108"/>
              <a:gd name="connsiteX19" fmla="*/ 403759 w 1170880"/>
              <a:gd name="connsiteY19" fmla="*/ 383560 h 1192108"/>
              <a:gd name="connsiteX20" fmla="*/ 787319 w 1170880"/>
              <a:gd name="connsiteY20" fmla="*/ 0 h 1192108"/>
              <a:gd name="connsiteX21" fmla="*/ 371658 w 1170880"/>
              <a:gd name="connsiteY21" fmla="*/ 741521 h 1192108"/>
              <a:gd name="connsiteX22" fmla="*/ 358362 w 1170880"/>
              <a:gd name="connsiteY22" fmla="*/ 748107 h 1192108"/>
              <a:gd name="connsiteX23" fmla="*/ 34811 w 1170880"/>
              <a:gd name="connsiteY23" fmla="*/ 1071657 h 1192108"/>
              <a:gd name="connsiteX24" fmla="*/ 34811 w 1170880"/>
              <a:gd name="connsiteY24" fmla="*/ 1109726 h 1192108"/>
              <a:gd name="connsiteX25" fmla="*/ 82385 w 1170880"/>
              <a:gd name="connsiteY25" fmla="*/ 1157308 h 1192108"/>
              <a:gd name="connsiteX26" fmla="*/ 120462 w 1170880"/>
              <a:gd name="connsiteY26" fmla="*/ 1157308 h 1192108"/>
              <a:gd name="connsiteX27" fmla="*/ 444012 w 1170880"/>
              <a:gd name="connsiteY27" fmla="*/ 833757 h 1192108"/>
              <a:gd name="connsiteX28" fmla="*/ 444012 w 1170880"/>
              <a:gd name="connsiteY28" fmla="*/ 795680 h 1192108"/>
              <a:gd name="connsiteX29" fmla="*/ 396439 w 1170880"/>
              <a:gd name="connsiteY29" fmla="*/ 748107 h 1192108"/>
              <a:gd name="connsiteX30" fmla="*/ 387533 w 1170880"/>
              <a:gd name="connsiteY30" fmla="*/ 742194 h 1192108"/>
              <a:gd name="connsiteX31" fmla="*/ 371659 w 1170880"/>
              <a:gd name="connsiteY31" fmla="*/ 741521 h 1192108"/>
              <a:gd name="connsiteX32" fmla="*/ 375616 w 1170880"/>
              <a:gd name="connsiteY32" fmla="*/ 754443 h 1192108"/>
              <a:gd name="connsiteX33" fmla="*/ 381903 w 1170880"/>
              <a:gd name="connsiteY33" fmla="*/ 754659 h 1192108"/>
              <a:gd name="connsiteX34" fmla="*/ 386360 w 1170880"/>
              <a:gd name="connsiteY34" fmla="*/ 757619 h 1192108"/>
              <a:gd name="connsiteX35" fmla="*/ 386360 w 1170880"/>
              <a:gd name="connsiteY35" fmla="*/ 776653 h 1192108"/>
              <a:gd name="connsiteX36" fmla="*/ 63363 w 1170880"/>
              <a:gd name="connsiteY36" fmla="*/ 1099650 h 1192108"/>
              <a:gd name="connsiteX37" fmla="*/ 44337 w 1170880"/>
              <a:gd name="connsiteY37" fmla="*/ 1099650 h 1192108"/>
              <a:gd name="connsiteX38" fmla="*/ 44337 w 1170880"/>
              <a:gd name="connsiteY38" fmla="*/ 1080625 h 1192108"/>
              <a:gd name="connsiteX39" fmla="*/ 367334 w 1170880"/>
              <a:gd name="connsiteY39" fmla="*/ 757628 h 1192108"/>
              <a:gd name="connsiteX40" fmla="*/ 375641 w 1170880"/>
              <a:gd name="connsiteY40" fmla="*/ 754451 h 1192108"/>
              <a:gd name="connsiteX41" fmla="*/ 484507 w 1170880"/>
              <a:gd name="connsiteY41" fmla="*/ 659464 h 1192108"/>
              <a:gd name="connsiteX42" fmla="*/ 430672 w 1170880"/>
              <a:gd name="connsiteY42" fmla="*/ 713298 h 1192108"/>
              <a:gd name="connsiteX43" fmla="*/ 484507 w 1170880"/>
              <a:gd name="connsiteY43" fmla="*/ 767132 h 1192108"/>
              <a:gd name="connsiteX44" fmla="*/ 538341 w 1170880"/>
              <a:gd name="connsiteY44" fmla="*/ 713298 h 1192108"/>
              <a:gd name="connsiteX45" fmla="*/ 484507 w 1170880"/>
              <a:gd name="connsiteY45" fmla="*/ 659464 h 1192108"/>
              <a:gd name="connsiteX46" fmla="*/ 484507 w 1170880"/>
              <a:gd name="connsiteY46" fmla="*/ 672927 h 1192108"/>
              <a:gd name="connsiteX47" fmla="*/ 497969 w 1170880"/>
              <a:gd name="connsiteY47" fmla="*/ 686381 h 1192108"/>
              <a:gd name="connsiteX48" fmla="*/ 484507 w 1170880"/>
              <a:gd name="connsiteY48" fmla="*/ 699844 h 1192108"/>
              <a:gd name="connsiteX49" fmla="*/ 471052 w 1170880"/>
              <a:gd name="connsiteY49" fmla="*/ 713298 h 1192108"/>
              <a:gd name="connsiteX50" fmla="*/ 457590 w 1170880"/>
              <a:gd name="connsiteY50" fmla="*/ 726761 h 1192108"/>
              <a:gd name="connsiteX51" fmla="*/ 444135 w 1170880"/>
              <a:gd name="connsiteY51" fmla="*/ 713298 h 1192108"/>
              <a:gd name="connsiteX52" fmla="*/ 484507 w 1170880"/>
              <a:gd name="connsiteY52" fmla="*/ 672926 h 1192108"/>
              <a:gd name="connsiteX53" fmla="*/ 787323 w 1170880"/>
              <a:gd name="connsiteY53" fmla="*/ 26933 h 1192108"/>
              <a:gd name="connsiteX54" fmla="*/ 430670 w 1170880"/>
              <a:gd name="connsiteY54" fmla="*/ 383585 h 1192108"/>
              <a:gd name="connsiteX55" fmla="*/ 787323 w 1170880"/>
              <a:gd name="connsiteY55" fmla="*/ 740238 h 1192108"/>
              <a:gd name="connsiteX56" fmla="*/ 1143976 w 1170880"/>
              <a:gd name="connsiteY56" fmla="*/ 383585 h 1192108"/>
              <a:gd name="connsiteX57" fmla="*/ 787323 w 1170880"/>
              <a:gd name="connsiteY57" fmla="*/ 26933 h 1192108"/>
              <a:gd name="connsiteX58" fmla="*/ 787323 w 1170880"/>
              <a:gd name="connsiteY58" fmla="*/ 40387 h 1192108"/>
              <a:gd name="connsiteX59" fmla="*/ 1130501 w 1170880"/>
              <a:gd name="connsiteY59" fmla="*/ 383586 h 1192108"/>
              <a:gd name="connsiteX60" fmla="*/ 787323 w 1170880"/>
              <a:gd name="connsiteY60" fmla="*/ 726764 h 1192108"/>
              <a:gd name="connsiteX61" fmla="*/ 444145 w 1170880"/>
              <a:gd name="connsiteY61" fmla="*/ 383586 h 1192108"/>
              <a:gd name="connsiteX62" fmla="*/ 787323 w 1170880"/>
              <a:gd name="connsiteY62" fmla="*/ 40387 h 1192108"/>
              <a:gd name="connsiteX63" fmla="*/ 787323 w 1170880"/>
              <a:gd name="connsiteY63" fmla="*/ 67305 h 1192108"/>
              <a:gd name="connsiteX64" fmla="*/ 471053 w 1170880"/>
              <a:gd name="connsiteY64" fmla="*/ 383575 h 1192108"/>
              <a:gd name="connsiteX65" fmla="*/ 787323 w 1170880"/>
              <a:gd name="connsiteY65" fmla="*/ 699845 h 1192108"/>
              <a:gd name="connsiteX66" fmla="*/ 1103593 w 1170880"/>
              <a:gd name="connsiteY66" fmla="*/ 383575 h 1192108"/>
              <a:gd name="connsiteX67" fmla="*/ 787323 w 1170880"/>
              <a:gd name="connsiteY67" fmla="*/ 67305 h 1192108"/>
              <a:gd name="connsiteX68" fmla="*/ 858654 w 1170880"/>
              <a:gd name="connsiteY68" fmla="*/ 504361 h 1192108"/>
              <a:gd name="connsiteX69" fmla="*/ 903392 w 1170880"/>
              <a:gd name="connsiteY69" fmla="*/ 541025 h 1192108"/>
              <a:gd name="connsiteX70" fmla="*/ 920904 w 1170880"/>
              <a:gd name="connsiteY70" fmla="*/ 600647 h 1192108"/>
              <a:gd name="connsiteX71" fmla="*/ 912946 w 1170880"/>
              <a:gd name="connsiteY71" fmla="*/ 617885 h 1192108"/>
              <a:gd name="connsiteX72" fmla="*/ 895691 w 1170880"/>
              <a:gd name="connsiteY72" fmla="*/ 609936 h 1192108"/>
              <a:gd name="connsiteX73" fmla="*/ 877231 w 1170880"/>
              <a:gd name="connsiteY73" fmla="*/ 547120 h 1192108"/>
              <a:gd name="connsiteX74" fmla="*/ 840335 w 1170880"/>
              <a:gd name="connsiteY74" fmla="*/ 548243 h 1192108"/>
              <a:gd name="connsiteX75" fmla="*/ 839770 w 1170880"/>
              <a:gd name="connsiteY75" fmla="*/ 549656 h 1192108"/>
              <a:gd name="connsiteX76" fmla="*/ 775767 w 1170880"/>
              <a:gd name="connsiteY76" fmla="*/ 650830 h 1192108"/>
              <a:gd name="connsiteX77" fmla="*/ 756841 w 1170880"/>
              <a:gd name="connsiteY77" fmla="*/ 652393 h 1192108"/>
              <a:gd name="connsiteX78" fmla="*/ 755269 w 1170880"/>
              <a:gd name="connsiteY78" fmla="*/ 633476 h 1192108"/>
              <a:gd name="connsiteX79" fmla="*/ 815432 w 1170880"/>
              <a:gd name="connsiteY79" fmla="*/ 538322 h 1192108"/>
              <a:gd name="connsiteX80" fmla="*/ 814867 w 1170880"/>
              <a:gd name="connsiteY80" fmla="*/ 539736 h 1192108"/>
              <a:gd name="connsiteX81" fmla="*/ 846964 w 1170880"/>
              <a:gd name="connsiteY81" fmla="*/ 504828 h 1192108"/>
              <a:gd name="connsiteX82" fmla="*/ 855544 w 1170880"/>
              <a:gd name="connsiteY82" fmla="*/ 580848 h 1192108"/>
              <a:gd name="connsiteX83" fmla="*/ 864574 w 1170880"/>
              <a:gd name="connsiteY83" fmla="*/ 586178 h 1192108"/>
              <a:gd name="connsiteX84" fmla="*/ 866728 w 1170880"/>
              <a:gd name="connsiteY84" fmla="*/ 589703 h 1192108"/>
              <a:gd name="connsiteX85" fmla="*/ 870295 w 1170880"/>
              <a:gd name="connsiteY85" fmla="*/ 600671 h 1192108"/>
              <a:gd name="connsiteX86" fmla="*/ 874254 w 1170880"/>
              <a:gd name="connsiteY86" fmla="*/ 615797 h 1192108"/>
              <a:gd name="connsiteX87" fmla="*/ 879609 w 1170880"/>
              <a:gd name="connsiteY87" fmla="*/ 634615 h 1192108"/>
              <a:gd name="connsiteX88" fmla="*/ 870744 w 1170880"/>
              <a:gd name="connsiteY88" fmla="*/ 651412 h 1192108"/>
              <a:gd name="connsiteX89" fmla="*/ 853947 w 1170880"/>
              <a:gd name="connsiteY89" fmla="*/ 642540 h 1192108"/>
              <a:gd name="connsiteX90" fmla="*/ 850338 w 1170880"/>
              <a:gd name="connsiteY90" fmla="*/ 630133 h 1192108"/>
              <a:gd name="connsiteX91" fmla="*/ 842272 w 1170880"/>
              <a:gd name="connsiteY91" fmla="*/ 642839 h 1192108"/>
              <a:gd name="connsiteX92" fmla="*/ 823646 w 1170880"/>
              <a:gd name="connsiteY92" fmla="*/ 646556 h 1192108"/>
              <a:gd name="connsiteX93" fmla="*/ 819937 w 1170880"/>
              <a:gd name="connsiteY93" fmla="*/ 627913 h 1192108"/>
              <a:gd name="connsiteX94" fmla="*/ 839935 w 1170880"/>
              <a:gd name="connsiteY94" fmla="*/ 591000 h 1192108"/>
              <a:gd name="connsiteX95" fmla="*/ 842555 w 1170880"/>
              <a:gd name="connsiteY95" fmla="*/ 586028 h 1192108"/>
              <a:gd name="connsiteX96" fmla="*/ 855544 w 1170880"/>
              <a:gd name="connsiteY96" fmla="*/ 580847 h 1192108"/>
              <a:gd name="connsiteX97" fmla="*/ 777461 w 1170880"/>
              <a:gd name="connsiteY97" fmla="*/ 217149 h 1192108"/>
              <a:gd name="connsiteX98" fmla="*/ 841040 w 1170880"/>
              <a:gd name="connsiteY98" fmla="*/ 280720 h 1192108"/>
              <a:gd name="connsiteX99" fmla="*/ 731135 w 1170880"/>
              <a:gd name="connsiteY99" fmla="*/ 626942 h 1192108"/>
              <a:gd name="connsiteX100" fmla="*/ 712175 w 1170880"/>
              <a:gd name="connsiteY100" fmla="*/ 627973 h 1192108"/>
              <a:gd name="connsiteX101" fmla="*/ 711119 w 1170880"/>
              <a:gd name="connsiteY101" fmla="*/ 609014 h 1192108"/>
              <a:gd name="connsiteX102" fmla="*/ 814173 w 1170880"/>
              <a:gd name="connsiteY102" fmla="*/ 280716 h 1192108"/>
              <a:gd name="connsiteX103" fmla="*/ 777460 w 1170880"/>
              <a:gd name="connsiteY103" fmla="*/ 244003 h 1192108"/>
              <a:gd name="connsiteX104" fmla="*/ 740748 w 1170880"/>
              <a:gd name="connsiteY104" fmla="*/ 280716 h 1192108"/>
              <a:gd name="connsiteX105" fmla="*/ 626459 w 1170880"/>
              <a:gd name="connsiteY105" fmla="*/ 574336 h 1192108"/>
              <a:gd name="connsiteX106" fmla="*/ 607491 w 1170880"/>
              <a:gd name="connsiteY106" fmla="*/ 573430 h 1192108"/>
              <a:gd name="connsiteX107" fmla="*/ 608381 w 1170880"/>
              <a:gd name="connsiteY107" fmla="*/ 554471 h 1192108"/>
              <a:gd name="connsiteX108" fmla="*/ 713880 w 1170880"/>
              <a:gd name="connsiteY108" fmla="*/ 280712 h 1192108"/>
              <a:gd name="connsiteX109" fmla="*/ 777460 w 1170880"/>
              <a:gd name="connsiteY109" fmla="*/ 217141 h 1192108"/>
              <a:gd name="connsiteX110" fmla="*/ 777444 w 1170880"/>
              <a:gd name="connsiteY110" fmla="*/ 267292 h 1192108"/>
              <a:gd name="connsiteX111" fmla="*/ 790890 w 1170880"/>
              <a:gd name="connsiteY111" fmla="*/ 280721 h 1192108"/>
              <a:gd name="connsiteX112" fmla="*/ 684129 w 1170880"/>
              <a:gd name="connsiteY112" fmla="*/ 598354 h 1192108"/>
              <a:gd name="connsiteX113" fmla="*/ 665161 w 1170880"/>
              <a:gd name="connsiteY113" fmla="*/ 599468 h 1192108"/>
              <a:gd name="connsiteX114" fmla="*/ 664047 w 1170880"/>
              <a:gd name="connsiteY114" fmla="*/ 580509 h 1192108"/>
              <a:gd name="connsiteX115" fmla="*/ 764032 w 1170880"/>
              <a:gd name="connsiteY115" fmla="*/ 280715 h 1192108"/>
              <a:gd name="connsiteX116" fmla="*/ 777462 w 1170880"/>
              <a:gd name="connsiteY116" fmla="*/ 267286 h 1192108"/>
              <a:gd name="connsiteX117" fmla="*/ 787107 w 1170880"/>
              <a:gd name="connsiteY117" fmla="*/ 115400 h 1192108"/>
              <a:gd name="connsiteX118" fmla="*/ 809410 w 1170880"/>
              <a:gd name="connsiteY118" fmla="*/ 116207 h 1192108"/>
              <a:gd name="connsiteX119" fmla="*/ 817476 w 1170880"/>
              <a:gd name="connsiteY119" fmla="*/ 117072 h 1192108"/>
              <a:gd name="connsiteX120" fmla="*/ 939539 w 1170880"/>
              <a:gd name="connsiteY120" fmla="*/ 251707 h 1192108"/>
              <a:gd name="connsiteX121" fmla="*/ 928463 w 1170880"/>
              <a:gd name="connsiteY121" fmla="*/ 446615 h 1192108"/>
              <a:gd name="connsiteX122" fmla="*/ 960560 w 1170880"/>
              <a:gd name="connsiteY122" fmla="*/ 556188 h 1192108"/>
              <a:gd name="connsiteX123" fmla="*/ 955155 w 1170880"/>
              <a:gd name="connsiteY123" fmla="*/ 574399 h 1192108"/>
              <a:gd name="connsiteX124" fmla="*/ 936944 w 1170880"/>
              <a:gd name="connsiteY124" fmla="*/ 568986 h 1192108"/>
              <a:gd name="connsiteX125" fmla="*/ 902243 w 1170880"/>
              <a:gd name="connsiteY125" fmla="*/ 440785 h 1192108"/>
              <a:gd name="connsiteX126" fmla="*/ 813167 w 1170880"/>
              <a:gd name="connsiteY126" fmla="*/ 143589 h 1192108"/>
              <a:gd name="connsiteX127" fmla="*/ 807247 w 1170880"/>
              <a:gd name="connsiteY127" fmla="*/ 142982 h 1192108"/>
              <a:gd name="connsiteX128" fmla="*/ 725049 w 1170880"/>
              <a:gd name="connsiteY128" fmla="*/ 152487 h 1192108"/>
              <a:gd name="connsiteX129" fmla="*/ 640414 w 1170880"/>
              <a:gd name="connsiteY129" fmla="*/ 269219 h 1192108"/>
              <a:gd name="connsiteX130" fmla="*/ 577117 w 1170880"/>
              <a:gd name="connsiteY130" fmla="*/ 477872 h 1192108"/>
              <a:gd name="connsiteX131" fmla="*/ 558141 w 1170880"/>
              <a:gd name="connsiteY131" fmla="*/ 478687 h 1192108"/>
              <a:gd name="connsiteX132" fmla="*/ 557310 w 1170880"/>
              <a:gd name="connsiteY132" fmla="*/ 459711 h 1192108"/>
              <a:gd name="connsiteX133" fmla="*/ 613630 w 1170880"/>
              <a:gd name="connsiteY133" fmla="*/ 267167 h 1192108"/>
              <a:gd name="connsiteX134" fmla="*/ 716318 w 1170880"/>
              <a:gd name="connsiteY134" fmla="*/ 127075 h 1192108"/>
              <a:gd name="connsiteX135" fmla="*/ 787107 w 1170880"/>
              <a:gd name="connsiteY135" fmla="*/ 115408 h 1192108"/>
              <a:gd name="connsiteX136" fmla="*/ 777461 w 1170880"/>
              <a:gd name="connsiteY136" fmla="*/ 166997 h 1192108"/>
              <a:gd name="connsiteX137" fmla="*/ 799596 w 1170880"/>
              <a:gd name="connsiteY137" fmla="*/ 168951 h 1192108"/>
              <a:gd name="connsiteX138" fmla="*/ 853754 w 1170880"/>
              <a:gd name="connsiteY138" fmla="*/ 195461 h 1192108"/>
              <a:gd name="connsiteX139" fmla="*/ 877227 w 1170880"/>
              <a:gd name="connsiteY139" fmla="*/ 224574 h 1192108"/>
              <a:gd name="connsiteX140" fmla="*/ 865411 w 1170880"/>
              <a:gd name="connsiteY140" fmla="*/ 460483 h 1192108"/>
              <a:gd name="connsiteX141" fmla="*/ 848423 w 1170880"/>
              <a:gd name="connsiteY141" fmla="*/ 468990 h 1192108"/>
              <a:gd name="connsiteX142" fmla="*/ 839932 w 1170880"/>
              <a:gd name="connsiteY142" fmla="*/ 451985 h 1192108"/>
              <a:gd name="connsiteX143" fmla="*/ 853187 w 1170880"/>
              <a:gd name="connsiteY143" fmla="*/ 236597 h 1192108"/>
              <a:gd name="connsiteX144" fmla="*/ 849354 w 1170880"/>
              <a:gd name="connsiteY144" fmla="*/ 230526 h 1192108"/>
              <a:gd name="connsiteX145" fmla="*/ 835908 w 1170880"/>
              <a:gd name="connsiteY145" fmla="*/ 215558 h 1192108"/>
              <a:gd name="connsiteX146" fmla="*/ 777458 w 1170880"/>
              <a:gd name="connsiteY146" fmla="*/ 193879 h 1192108"/>
              <a:gd name="connsiteX147" fmla="*/ 690594 w 1170880"/>
              <a:gd name="connsiteY147" fmla="*/ 280735 h 1192108"/>
              <a:gd name="connsiteX148" fmla="*/ 599083 w 1170880"/>
              <a:gd name="connsiteY148" fmla="*/ 533078 h 1192108"/>
              <a:gd name="connsiteX149" fmla="*/ 580090 w 1170880"/>
              <a:gd name="connsiteY149" fmla="*/ 533294 h 1192108"/>
              <a:gd name="connsiteX150" fmla="*/ 579874 w 1170880"/>
              <a:gd name="connsiteY150" fmla="*/ 514285 h 1192108"/>
              <a:gd name="connsiteX151" fmla="*/ 663737 w 1170880"/>
              <a:gd name="connsiteY151" fmla="*/ 280739 h 1192108"/>
              <a:gd name="connsiteX152" fmla="*/ 777460 w 1170880"/>
              <a:gd name="connsiteY152" fmla="*/ 167016 h 11921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</a:cxnLst>
            <a:rect l="l" t="t" r="r" b="b"/>
            <a:pathLst>
              <a:path w="1170880" h="1192108">
                <a:moveTo>
                  <a:pt x="787320" y="9"/>
                </a:moveTo>
                <a:cubicBezTo>
                  <a:pt x="999157" y="9"/>
                  <a:pt x="1170880" y="171741"/>
                  <a:pt x="1170880" y="383569"/>
                </a:cubicBezTo>
                <a:cubicBezTo>
                  <a:pt x="1170880" y="595407"/>
                  <a:pt x="999149" y="767130"/>
                  <a:pt x="787320" y="767130"/>
                </a:cubicBezTo>
                <a:cubicBezTo>
                  <a:pt x="723149" y="767130"/>
                  <a:pt x="661308" y="750482"/>
                  <a:pt x="604487" y="720838"/>
                </a:cubicBezTo>
                <a:cubicBezTo>
                  <a:pt x="588605" y="712555"/>
                  <a:pt x="574802" y="700797"/>
                  <a:pt x="559958" y="690769"/>
                </a:cubicBezTo>
                <a:cubicBezTo>
                  <a:pt x="564648" y="703367"/>
                  <a:pt x="562494" y="695966"/>
                  <a:pt x="565255" y="713295"/>
                </a:cubicBezTo>
                <a:cubicBezTo>
                  <a:pt x="565255" y="757882"/>
                  <a:pt x="529091" y="794048"/>
                  <a:pt x="484502" y="794048"/>
                </a:cubicBezTo>
                <a:lnTo>
                  <a:pt x="473118" y="792909"/>
                </a:lnTo>
                <a:cubicBezTo>
                  <a:pt x="484145" y="815112"/>
                  <a:pt x="477950" y="834536"/>
                  <a:pt x="463040" y="852780"/>
                </a:cubicBezTo>
                <a:lnTo>
                  <a:pt x="139489" y="1176330"/>
                </a:lnTo>
                <a:cubicBezTo>
                  <a:pt x="118468" y="1197369"/>
                  <a:pt x="84374" y="1197369"/>
                  <a:pt x="63352" y="1176330"/>
                </a:cubicBezTo>
                <a:lnTo>
                  <a:pt x="15779" y="1128757"/>
                </a:lnTo>
                <a:cubicBezTo>
                  <a:pt x="-5260" y="1107735"/>
                  <a:pt x="-5260" y="1073658"/>
                  <a:pt x="15779" y="1052620"/>
                </a:cubicBezTo>
                <a:lnTo>
                  <a:pt x="339329" y="729069"/>
                </a:lnTo>
                <a:cubicBezTo>
                  <a:pt x="356351" y="713187"/>
                  <a:pt x="366030" y="714284"/>
                  <a:pt x="387667" y="714284"/>
                </a:cubicBezTo>
                <a:cubicBezTo>
                  <a:pt x="393147" y="716854"/>
                  <a:pt x="399067" y="718267"/>
                  <a:pt x="404522" y="720878"/>
                </a:cubicBezTo>
                <a:lnTo>
                  <a:pt x="403757" y="713295"/>
                </a:lnTo>
                <a:cubicBezTo>
                  <a:pt x="403757" y="668708"/>
                  <a:pt x="439912" y="632551"/>
                  <a:pt x="484501" y="632551"/>
                </a:cubicBezTo>
                <a:lnTo>
                  <a:pt x="497665" y="633881"/>
                </a:lnTo>
                <a:cubicBezTo>
                  <a:pt x="432571" y="567209"/>
                  <a:pt x="408306" y="473635"/>
                  <a:pt x="403759" y="383560"/>
                </a:cubicBezTo>
                <a:cubicBezTo>
                  <a:pt x="403759" y="171723"/>
                  <a:pt x="575482" y="0"/>
                  <a:pt x="787319" y="0"/>
                </a:cubicBezTo>
                <a:close/>
                <a:moveTo>
                  <a:pt x="371658" y="741521"/>
                </a:moveTo>
                <a:cubicBezTo>
                  <a:pt x="366345" y="741429"/>
                  <a:pt x="362511" y="745296"/>
                  <a:pt x="358362" y="748107"/>
                </a:cubicBezTo>
                <a:lnTo>
                  <a:pt x="34811" y="1071657"/>
                </a:lnTo>
                <a:cubicBezTo>
                  <a:pt x="24300" y="1082176"/>
                  <a:pt x="24300" y="1099214"/>
                  <a:pt x="34811" y="1109726"/>
                </a:cubicBezTo>
                <a:lnTo>
                  <a:pt x="82385" y="1157308"/>
                </a:lnTo>
                <a:cubicBezTo>
                  <a:pt x="92912" y="1167818"/>
                  <a:pt x="109933" y="1167818"/>
                  <a:pt x="120462" y="1157308"/>
                </a:cubicBezTo>
                <a:lnTo>
                  <a:pt x="444012" y="833757"/>
                </a:lnTo>
                <a:cubicBezTo>
                  <a:pt x="454523" y="823247"/>
                  <a:pt x="454523" y="806209"/>
                  <a:pt x="444012" y="795680"/>
                </a:cubicBezTo>
                <a:lnTo>
                  <a:pt x="396439" y="748107"/>
                </a:lnTo>
                <a:lnTo>
                  <a:pt x="387533" y="742194"/>
                </a:lnTo>
                <a:cubicBezTo>
                  <a:pt x="377238" y="741995"/>
                  <a:pt x="382527" y="742211"/>
                  <a:pt x="371659" y="741521"/>
                </a:cubicBezTo>
                <a:close/>
                <a:moveTo>
                  <a:pt x="375616" y="754443"/>
                </a:moveTo>
                <a:lnTo>
                  <a:pt x="381903" y="754659"/>
                </a:lnTo>
                <a:lnTo>
                  <a:pt x="386360" y="757619"/>
                </a:lnTo>
                <a:cubicBezTo>
                  <a:pt x="391624" y="762883"/>
                  <a:pt x="391624" y="771398"/>
                  <a:pt x="386360" y="776653"/>
                </a:cubicBezTo>
                <a:lnTo>
                  <a:pt x="63363" y="1099650"/>
                </a:lnTo>
                <a:cubicBezTo>
                  <a:pt x="58116" y="1104914"/>
                  <a:pt x="49584" y="1104914"/>
                  <a:pt x="44337" y="1099650"/>
                </a:cubicBezTo>
                <a:cubicBezTo>
                  <a:pt x="39073" y="1094403"/>
                  <a:pt x="39073" y="1085880"/>
                  <a:pt x="44337" y="1080625"/>
                </a:cubicBezTo>
                <a:lnTo>
                  <a:pt x="367334" y="757628"/>
                </a:lnTo>
                <a:cubicBezTo>
                  <a:pt x="372290" y="754252"/>
                  <a:pt x="369546" y="755341"/>
                  <a:pt x="375641" y="754451"/>
                </a:cubicBezTo>
                <a:close/>
                <a:moveTo>
                  <a:pt x="484507" y="659464"/>
                </a:moveTo>
                <a:cubicBezTo>
                  <a:pt x="454779" y="659464"/>
                  <a:pt x="430672" y="683570"/>
                  <a:pt x="430672" y="713298"/>
                </a:cubicBezTo>
                <a:cubicBezTo>
                  <a:pt x="430672" y="743035"/>
                  <a:pt x="454779" y="767132"/>
                  <a:pt x="484507" y="767132"/>
                </a:cubicBezTo>
                <a:cubicBezTo>
                  <a:pt x="514243" y="767132"/>
                  <a:pt x="538341" y="743035"/>
                  <a:pt x="538341" y="713298"/>
                </a:cubicBezTo>
                <a:cubicBezTo>
                  <a:pt x="538341" y="683570"/>
                  <a:pt x="514243" y="659464"/>
                  <a:pt x="484507" y="659464"/>
                </a:cubicBezTo>
                <a:close/>
                <a:moveTo>
                  <a:pt x="484507" y="672927"/>
                </a:moveTo>
                <a:cubicBezTo>
                  <a:pt x="491941" y="672927"/>
                  <a:pt x="497969" y="678955"/>
                  <a:pt x="497969" y="686381"/>
                </a:cubicBezTo>
                <a:cubicBezTo>
                  <a:pt x="497969" y="693815"/>
                  <a:pt x="491941" y="699844"/>
                  <a:pt x="484507" y="699844"/>
                </a:cubicBezTo>
                <a:cubicBezTo>
                  <a:pt x="477064" y="699844"/>
                  <a:pt x="471052" y="705856"/>
                  <a:pt x="471052" y="713298"/>
                </a:cubicBezTo>
                <a:cubicBezTo>
                  <a:pt x="471052" y="720732"/>
                  <a:pt x="465024" y="726761"/>
                  <a:pt x="457590" y="726761"/>
                </a:cubicBezTo>
                <a:cubicBezTo>
                  <a:pt x="450164" y="726761"/>
                  <a:pt x="444135" y="720732"/>
                  <a:pt x="444135" y="713298"/>
                </a:cubicBezTo>
                <a:cubicBezTo>
                  <a:pt x="444135" y="691004"/>
                  <a:pt x="462213" y="672926"/>
                  <a:pt x="484507" y="672926"/>
                </a:cubicBezTo>
                <a:close/>
                <a:moveTo>
                  <a:pt x="787323" y="26933"/>
                </a:moveTo>
                <a:cubicBezTo>
                  <a:pt x="590347" y="26933"/>
                  <a:pt x="430670" y="186607"/>
                  <a:pt x="430670" y="383585"/>
                </a:cubicBezTo>
                <a:cubicBezTo>
                  <a:pt x="430670" y="580564"/>
                  <a:pt x="590345" y="740238"/>
                  <a:pt x="787323" y="740238"/>
                </a:cubicBezTo>
                <a:cubicBezTo>
                  <a:pt x="984302" y="740238"/>
                  <a:pt x="1143976" y="580572"/>
                  <a:pt x="1143976" y="383585"/>
                </a:cubicBezTo>
                <a:cubicBezTo>
                  <a:pt x="1143976" y="186598"/>
                  <a:pt x="984302" y="26933"/>
                  <a:pt x="787323" y="26933"/>
                </a:cubicBezTo>
                <a:close/>
                <a:moveTo>
                  <a:pt x="787323" y="40387"/>
                </a:moveTo>
                <a:cubicBezTo>
                  <a:pt x="976857" y="40387"/>
                  <a:pt x="1130501" y="194050"/>
                  <a:pt x="1130501" y="383586"/>
                </a:cubicBezTo>
                <a:cubicBezTo>
                  <a:pt x="1130501" y="573122"/>
                  <a:pt x="976847" y="726764"/>
                  <a:pt x="787323" y="726764"/>
                </a:cubicBezTo>
                <a:cubicBezTo>
                  <a:pt x="597789" y="726764"/>
                  <a:pt x="444145" y="573110"/>
                  <a:pt x="444145" y="383586"/>
                </a:cubicBezTo>
                <a:cubicBezTo>
                  <a:pt x="444145" y="194062"/>
                  <a:pt x="597799" y="40387"/>
                  <a:pt x="787323" y="40387"/>
                </a:cubicBezTo>
                <a:close/>
                <a:moveTo>
                  <a:pt x="787323" y="67305"/>
                </a:moveTo>
                <a:cubicBezTo>
                  <a:pt x="612648" y="67305"/>
                  <a:pt x="471053" y="208902"/>
                  <a:pt x="471053" y="383575"/>
                </a:cubicBezTo>
                <a:cubicBezTo>
                  <a:pt x="471053" y="558251"/>
                  <a:pt x="612650" y="699845"/>
                  <a:pt x="787323" y="699845"/>
                </a:cubicBezTo>
                <a:cubicBezTo>
                  <a:pt x="961999" y="699845"/>
                  <a:pt x="1103593" y="558249"/>
                  <a:pt x="1103593" y="383575"/>
                </a:cubicBezTo>
                <a:cubicBezTo>
                  <a:pt x="1103593" y="208891"/>
                  <a:pt x="961996" y="67305"/>
                  <a:pt x="787323" y="67305"/>
                </a:cubicBezTo>
                <a:close/>
                <a:moveTo>
                  <a:pt x="858654" y="504361"/>
                </a:moveTo>
                <a:cubicBezTo>
                  <a:pt x="886419" y="505642"/>
                  <a:pt x="894410" y="516410"/>
                  <a:pt x="903392" y="541025"/>
                </a:cubicBezTo>
                <a:cubicBezTo>
                  <a:pt x="908198" y="562321"/>
                  <a:pt x="914094" y="582187"/>
                  <a:pt x="920904" y="600647"/>
                </a:cubicBezTo>
                <a:cubicBezTo>
                  <a:pt x="923474" y="607607"/>
                  <a:pt x="919906" y="615332"/>
                  <a:pt x="912946" y="617885"/>
                </a:cubicBezTo>
                <a:cubicBezTo>
                  <a:pt x="905986" y="620455"/>
                  <a:pt x="898261" y="616896"/>
                  <a:pt x="895691" y="609936"/>
                </a:cubicBezTo>
                <a:cubicBezTo>
                  <a:pt x="888482" y="590394"/>
                  <a:pt x="882245" y="569398"/>
                  <a:pt x="877231" y="547120"/>
                </a:cubicBezTo>
                <a:cubicBezTo>
                  <a:pt x="871552" y="523463"/>
                  <a:pt x="848659" y="523312"/>
                  <a:pt x="840335" y="548243"/>
                </a:cubicBezTo>
                <a:lnTo>
                  <a:pt x="839770" y="549656"/>
                </a:lnTo>
                <a:cubicBezTo>
                  <a:pt x="821484" y="589004"/>
                  <a:pt x="799664" y="622624"/>
                  <a:pt x="775767" y="650830"/>
                </a:cubicBezTo>
                <a:cubicBezTo>
                  <a:pt x="770977" y="656501"/>
                  <a:pt x="762495" y="657200"/>
                  <a:pt x="756841" y="652393"/>
                </a:cubicBezTo>
                <a:cubicBezTo>
                  <a:pt x="751178" y="647604"/>
                  <a:pt x="750479" y="639122"/>
                  <a:pt x="755269" y="633476"/>
                </a:cubicBezTo>
                <a:cubicBezTo>
                  <a:pt x="777647" y="607041"/>
                  <a:pt x="798159" y="575441"/>
                  <a:pt x="815432" y="538322"/>
                </a:cubicBezTo>
                <a:lnTo>
                  <a:pt x="814867" y="539736"/>
                </a:lnTo>
                <a:cubicBezTo>
                  <a:pt x="821120" y="520236"/>
                  <a:pt x="830259" y="515630"/>
                  <a:pt x="846964" y="504828"/>
                </a:cubicBezTo>
                <a:close/>
                <a:moveTo>
                  <a:pt x="855544" y="580848"/>
                </a:moveTo>
                <a:cubicBezTo>
                  <a:pt x="859735" y="581480"/>
                  <a:pt x="862487" y="583542"/>
                  <a:pt x="864574" y="586178"/>
                </a:cubicBezTo>
                <a:cubicBezTo>
                  <a:pt x="865481" y="587325"/>
                  <a:pt x="866138" y="588456"/>
                  <a:pt x="866728" y="589703"/>
                </a:cubicBezTo>
                <a:cubicBezTo>
                  <a:pt x="867884" y="592182"/>
                  <a:pt x="868840" y="595250"/>
                  <a:pt x="870295" y="600671"/>
                </a:cubicBezTo>
                <a:cubicBezTo>
                  <a:pt x="870861" y="602759"/>
                  <a:pt x="873489" y="612895"/>
                  <a:pt x="874254" y="615797"/>
                </a:cubicBezTo>
                <a:cubicBezTo>
                  <a:pt x="876083" y="622683"/>
                  <a:pt x="877779" y="628670"/>
                  <a:pt x="879609" y="634615"/>
                </a:cubicBezTo>
                <a:cubicBezTo>
                  <a:pt x="881804" y="641708"/>
                  <a:pt x="877829" y="649217"/>
                  <a:pt x="870744" y="651412"/>
                </a:cubicBezTo>
                <a:cubicBezTo>
                  <a:pt x="863660" y="653608"/>
                  <a:pt x="856134" y="649625"/>
                  <a:pt x="853947" y="642540"/>
                </a:cubicBezTo>
                <a:cubicBezTo>
                  <a:pt x="850820" y="632004"/>
                  <a:pt x="851993" y="636162"/>
                  <a:pt x="850338" y="630133"/>
                </a:cubicBezTo>
                <a:cubicBezTo>
                  <a:pt x="847752" y="634939"/>
                  <a:pt x="850139" y="630524"/>
                  <a:pt x="842272" y="642839"/>
                </a:cubicBezTo>
                <a:cubicBezTo>
                  <a:pt x="838156" y="649001"/>
                  <a:pt x="829816" y="650672"/>
                  <a:pt x="823646" y="646556"/>
                </a:cubicBezTo>
                <a:cubicBezTo>
                  <a:pt x="817475" y="642432"/>
                  <a:pt x="815821" y="634091"/>
                  <a:pt x="819937" y="627913"/>
                </a:cubicBezTo>
                <a:cubicBezTo>
                  <a:pt x="829824" y="613112"/>
                  <a:pt x="836892" y="600122"/>
                  <a:pt x="839935" y="591000"/>
                </a:cubicBezTo>
                <a:cubicBezTo>
                  <a:pt x="840509" y="589246"/>
                  <a:pt x="841283" y="587657"/>
                  <a:pt x="842555" y="586028"/>
                </a:cubicBezTo>
                <a:cubicBezTo>
                  <a:pt x="845440" y="582394"/>
                  <a:pt x="850030" y="580032"/>
                  <a:pt x="855544" y="580847"/>
                </a:cubicBezTo>
                <a:close/>
                <a:moveTo>
                  <a:pt x="777461" y="217149"/>
                </a:moveTo>
                <a:cubicBezTo>
                  <a:pt x="812568" y="217149"/>
                  <a:pt x="841040" y="245612"/>
                  <a:pt x="841040" y="280720"/>
                </a:cubicBezTo>
                <a:cubicBezTo>
                  <a:pt x="841040" y="439504"/>
                  <a:pt x="797675" y="552627"/>
                  <a:pt x="731135" y="626942"/>
                </a:cubicBezTo>
                <a:cubicBezTo>
                  <a:pt x="726179" y="632455"/>
                  <a:pt x="717689" y="632929"/>
                  <a:pt x="712175" y="627973"/>
                </a:cubicBezTo>
                <a:cubicBezTo>
                  <a:pt x="706637" y="623033"/>
                  <a:pt x="706172" y="614543"/>
                  <a:pt x="711119" y="609014"/>
                </a:cubicBezTo>
                <a:cubicBezTo>
                  <a:pt x="773260" y="539620"/>
                  <a:pt x="814173" y="432884"/>
                  <a:pt x="814173" y="280716"/>
                </a:cubicBezTo>
                <a:cubicBezTo>
                  <a:pt x="814173" y="260435"/>
                  <a:pt x="797725" y="244003"/>
                  <a:pt x="777460" y="244003"/>
                </a:cubicBezTo>
                <a:cubicBezTo>
                  <a:pt x="757179" y="244003"/>
                  <a:pt x="740748" y="260435"/>
                  <a:pt x="740748" y="280716"/>
                </a:cubicBezTo>
                <a:cubicBezTo>
                  <a:pt x="740748" y="415743"/>
                  <a:pt x="695254" y="511772"/>
                  <a:pt x="626459" y="574336"/>
                </a:cubicBezTo>
                <a:cubicBezTo>
                  <a:pt x="620979" y="579326"/>
                  <a:pt x="612489" y="578918"/>
                  <a:pt x="607491" y="573430"/>
                </a:cubicBezTo>
                <a:cubicBezTo>
                  <a:pt x="602502" y="567950"/>
                  <a:pt x="602901" y="559451"/>
                  <a:pt x="608381" y="554471"/>
                </a:cubicBezTo>
                <a:cubicBezTo>
                  <a:pt x="671754" y="496811"/>
                  <a:pt x="713880" y="407901"/>
                  <a:pt x="713880" y="280712"/>
                </a:cubicBezTo>
                <a:cubicBezTo>
                  <a:pt x="713880" y="245604"/>
                  <a:pt x="742344" y="217141"/>
                  <a:pt x="777460" y="217141"/>
                </a:cubicBezTo>
                <a:close/>
                <a:moveTo>
                  <a:pt x="777444" y="267292"/>
                </a:moveTo>
                <a:cubicBezTo>
                  <a:pt x="784878" y="267292"/>
                  <a:pt x="790890" y="273304"/>
                  <a:pt x="790890" y="280721"/>
                </a:cubicBezTo>
                <a:cubicBezTo>
                  <a:pt x="790890" y="419223"/>
                  <a:pt x="750452" y="523698"/>
                  <a:pt x="684129" y="598354"/>
                </a:cubicBezTo>
                <a:cubicBezTo>
                  <a:pt x="679198" y="603900"/>
                  <a:pt x="670707" y="604399"/>
                  <a:pt x="665161" y="599468"/>
                </a:cubicBezTo>
                <a:cubicBezTo>
                  <a:pt x="659614" y="594545"/>
                  <a:pt x="659107" y="586055"/>
                  <a:pt x="664047" y="580509"/>
                </a:cubicBezTo>
                <a:cubicBezTo>
                  <a:pt x="726038" y="510743"/>
                  <a:pt x="764032" y="412586"/>
                  <a:pt x="764032" y="280715"/>
                </a:cubicBezTo>
                <a:cubicBezTo>
                  <a:pt x="764032" y="273298"/>
                  <a:pt x="770028" y="267286"/>
                  <a:pt x="777462" y="267286"/>
                </a:cubicBezTo>
                <a:close/>
                <a:moveTo>
                  <a:pt x="787107" y="115400"/>
                </a:moveTo>
                <a:lnTo>
                  <a:pt x="809410" y="116207"/>
                </a:lnTo>
                <a:cubicBezTo>
                  <a:pt x="812927" y="116490"/>
                  <a:pt x="815480" y="116789"/>
                  <a:pt x="817476" y="117072"/>
                </a:cubicBezTo>
                <a:cubicBezTo>
                  <a:pt x="886769" y="129678"/>
                  <a:pt x="926300" y="177873"/>
                  <a:pt x="939539" y="251707"/>
                </a:cubicBezTo>
                <a:cubicBezTo>
                  <a:pt x="949568" y="307530"/>
                  <a:pt x="944279" y="375484"/>
                  <a:pt x="928463" y="446615"/>
                </a:cubicBezTo>
                <a:cubicBezTo>
                  <a:pt x="922892" y="471685"/>
                  <a:pt x="934342" y="507791"/>
                  <a:pt x="960560" y="556188"/>
                </a:cubicBezTo>
                <a:cubicBezTo>
                  <a:pt x="964103" y="562716"/>
                  <a:pt x="961683" y="570873"/>
                  <a:pt x="955155" y="574399"/>
                </a:cubicBezTo>
                <a:cubicBezTo>
                  <a:pt x="948628" y="577942"/>
                  <a:pt x="940478" y="575514"/>
                  <a:pt x="936944" y="568986"/>
                </a:cubicBezTo>
                <a:cubicBezTo>
                  <a:pt x="907782" y="515143"/>
                  <a:pt x="894801" y="474239"/>
                  <a:pt x="902243" y="440785"/>
                </a:cubicBezTo>
                <a:cubicBezTo>
                  <a:pt x="937992" y="279889"/>
                  <a:pt x="916920" y="162471"/>
                  <a:pt x="813167" y="143589"/>
                </a:cubicBezTo>
                <a:cubicBezTo>
                  <a:pt x="812211" y="143456"/>
                  <a:pt x="810191" y="143223"/>
                  <a:pt x="807247" y="142982"/>
                </a:cubicBezTo>
                <a:cubicBezTo>
                  <a:pt x="781751" y="140936"/>
                  <a:pt x="752465" y="143065"/>
                  <a:pt x="725049" y="152487"/>
                </a:cubicBezTo>
                <a:cubicBezTo>
                  <a:pt x="675947" y="169375"/>
                  <a:pt x="645295" y="205780"/>
                  <a:pt x="640414" y="269219"/>
                </a:cubicBezTo>
                <a:cubicBezTo>
                  <a:pt x="632065" y="377669"/>
                  <a:pt x="608357" y="443778"/>
                  <a:pt x="577117" y="477872"/>
                </a:cubicBezTo>
                <a:cubicBezTo>
                  <a:pt x="572095" y="483335"/>
                  <a:pt x="563605" y="483701"/>
                  <a:pt x="558141" y="478687"/>
                </a:cubicBezTo>
                <a:cubicBezTo>
                  <a:pt x="552661" y="473673"/>
                  <a:pt x="552304" y="465174"/>
                  <a:pt x="557310" y="459711"/>
                </a:cubicBezTo>
                <a:cubicBezTo>
                  <a:pt x="584011" y="430589"/>
                  <a:pt x="605713" y="370079"/>
                  <a:pt x="613630" y="267167"/>
                </a:cubicBezTo>
                <a:cubicBezTo>
                  <a:pt x="619368" y="192568"/>
                  <a:pt x="657462" y="147332"/>
                  <a:pt x="716318" y="127075"/>
                </a:cubicBezTo>
                <a:cubicBezTo>
                  <a:pt x="755267" y="116281"/>
                  <a:pt x="731901" y="121370"/>
                  <a:pt x="787107" y="115408"/>
                </a:cubicBezTo>
                <a:close/>
                <a:moveTo>
                  <a:pt x="777461" y="166997"/>
                </a:moveTo>
                <a:lnTo>
                  <a:pt x="799596" y="168951"/>
                </a:lnTo>
                <a:cubicBezTo>
                  <a:pt x="843968" y="185890"/>
                  <a:pt x="826838" y="175379"/>
                  <a:pt x="853754" y="195461"/>
                </a:cubicBezTo>
                <a:cubicBezTo>
                  <a:pt x="865761" y="206138"/>
                  <a:pt x="873378" y="216889"/>
                  <a:pt x="877227" y="224574"/>
                </a:cubicBezTo>
                <a:cubicBezTo>
                  <a:pt x="899903" y="269927"/>
                  <a:pt x="886832" y="396197"/>
                  <a:pt x="865411" y="460483"/>
                </a:cubicBezTo>
                <a:cubicBezTo>
                  <a:pt x="863066" y="467518"/>
                  <a:pt x="855466" y="471327"/>
                  <a:pt x="848423" y="468990"/>
                </a:cubicBezTo>
                <a:cubicBezTo>
                  <a:pt x="841388" y="466628"/>
                  <a:pt x="837579" y="459028"/>
                  <a:pt x="839932" y="451985"/>
                </a:cubicBezTo>
                <a:cubicBezTo>
                  <a:pt x="859241" y="394033"/>
                  <a:pt x="871706" y="273609"/>
                  <a:pt x="853187" y="236597"/>
                </a:cubicBezTo>
                <a:cubicBezTo>
                  <a:pt x="852705" y="235607"/>
                  <a:pt x="851424" y="233462"/>
                  <a:pt x="849354" y="230526"/>
                </a:cubicBezTo>
                <a:cubicBezTo>
                  <a:pt x="845745" y="225437"/>
                  <a:pt x="841280" y="220323"/>
                  <a:pt x="835908" y="215558"/>
                </a:cubicBezTo>
                <a:cubicBezTo>
                  <a:pt x="820632" y="201979"/>
                  <a:pt x="801398" y="193879"/>
                  <a:pt x="777458" y="193879"/>
                </a:cubicBezTo>
                <a:cubicBezTo>
                  <a:pt x="731564" y="193879"/>
                  <a:pt x="690594" y="225395"/>
                  <a:pt x="690594" y="280735"/>
                </a:cubicBezTo>
                <a:cubicBezTo>
                  <a:pt x="690594" y="390142"/>
                  <a:pt x="652343" y="478661"/>
                  <a:pt x="599083" y="533078"/>
                </a:cubicBezTo>
                <a:cubicBezTo>
                  <a:pt x="593886" y="538375"/>
                  <a:pt x="585396" y="538475"/>
                  <a:pt x="580090" y="533294"/>
                </a:cubicBezTo>
                <a:cubicBezTo>
                  <a:pt x="574785" y="528097"/>
                  <a:pt x="574694" y="519590"/>
                  <a:pt x="579874" y="514285"/>
                </a:cubicBezTo>
                <a:cubicBezTo>
                  <a:pt x="628361" y="464749"/>
                  <a:pt x="663737" y="382909"/>
                  <a:pt x="663737" y="280739"/>
                </a:cubicBezTo>
                <a:cubicBezTo>
                  <a:pt x="663737" y="208793"/>
                  <a:pt x="718037" y="167016"/>
                  <a:pt x="777460" y="167016"/>
                </a:cubicBezTo>
                <a:close/>
              </a:path>
            </a:pathLst>
          </a:custGeom>
          <a:solidFill>
            <a:srgbClr val="000000"/>
          </a:solidFill>
          <a:ln w="212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86649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3" name="Object 62" hidden="1">
            <a:extLst>
              <a:ext uri="{FF2B5EF4-FFF2-40B4-BE49-F238E27FC236}">
                <a16:creationId xmlns:a16="http://schemas.microsoft.com/office/drawing/2014/main" id="{F0ECB609-0210-C220-7E64-ECE73CEF17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3" name="Object 62" hidden="1">
                        <a:extLst>
                          <a:ext uri="{FF2B5EF4-FFF2-40B4-BE49-F238E27FC236}">
                            <a16:creationId xmlns:a16="http://schemas.microsoft.com/office/drawing/2014/main" id="{F0ECB609-0210-C220-7E64-ECE73CEF17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F5048B-7697-F199-E35E-A78DD46F71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607" y="202634"/>
            <a:ext cx="8604931" cy="369332"/>
          </a:xfrm>
        </p:spPr>
        <p:txBody>
          <a:bodyPr vert="horz">
            <a:normAutofit/>
          </a:bodyPr>
          <a:lstStyle/>
          <a:p>
            <a:r>
              <a:rPr lang="en-US" sz="2400" dirty="0"/>
              <a:t>NTS-105 Reduces Cell Death In An </a:t>
            </a:r>
            <a:r>
              <a:rPr lang="en-US" sz="2400" i="1" dirty="0"/>
              <a:t>Ex Vivo </a:t>
            </a:r>
            <a:r>
              <a:rPr lang="en-US" sz="2400" dirty="0"/>
              <a:t>Model Of TBI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DE78BF6D-C4A6-AAB7-ED87-FE236788439D}"/>
              </a:ext>
            </a:extLst>
          </p:cNvPr>
          <p:cNvSpPr txBox="1"/>
          <p:nvPr/>
        </p:nvSpPr>
        <p:spPr>
          <a:xfrm>
            <a:off x="8073761" y="4095798"/>
            <a:ext cx="462807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8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 p &lt; 0.05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82D30C62-C934-008F-FE75-7A5B731AF446}"/>
              </a:ext>
            </a:extLst>
          </p:cNvPr>
          <p:cNvSpPr/>
          <p:nvPr/>
        </p:nvSpPr>
        <p:spPr>
          <a:xfrm>
            <a:off x="267607" y="959042"/>
            <a:ext cx="4140000" cy="2233194"/>
          </a:xfrm>
          <a:prstGeom prst="rect">
            <a:avLst/>
          </a:prstGeom>
          <a:solidFill>
            <a:srgbClr val="FFFFFF"/>
          </a:solidFill>
          <a:ln w="12700" cap="flat">
            <a:noFill/>
            <a:miter lim="400000"/>
          </a:ln>
          <a:effectLst>
            <a:outerShdw blurRad="127000" rotWithShape="0">
              <a:srgbClr val="000000">
                <a:alpha val="10000"/>
              </a:srgbClr>
            </a:outerShdw>
          </a:effectLst>
        </p:spPr>
        <p:txBody>
          <a:bodyPr wrap="square" lIns="45718" tIns="45718" rIns="45718" bIns="45718" numCol="1" anchor="ctr">
            <a:noAutofit/>
          </a:bodyPr>
          <a:lstStyle/>
          <a:p>
            <a:pPr algn="ctr"/>
            <a:endParaRPr lang="en-US" sz="1800" kern="120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7D3052D1-F98B-63C8-0931-F5A67B31A1A2}"/>
              </a:ext>
            </a:extLst>
          </p:cNvPr>
          <p:cNvSpPr txBox="1"/>
          <p:nvPr/>
        </p:nvSpPr>
        <p:spPr>
          <a:xfrm>
            <a:off x="267607" y="959042"/>
            <a:ext cx="4140000" cy="470742"/>
          </a:xfrm>
          <a:prstGeom prst="rect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1500" b="1">
                <a:solidFill>
                  <a:schemeClr val="l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sym typeface="Arial"/>
              </a:rPr>
              <a:t>Substrate Strain Model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sym typeface="Arial"/>
              </a:rPr>
              <a:t>(Morrison Laboratory, Columbia U.)</a:t>
            </a:r>
          </a:p>
        </p:txBody>
      </p:sp>
      <p:pic>
        <p:nvPicPr>
          <p:cNvPr id="55" name="Picture 54" descr="StretchInjurySchem.jpg">
            <a:extLst>
              <a:ext uri="{FF2B5EF4-FFF2-40B4-BE49-F238E27FC236}">
                <a16:creationId xmlns:a16="http://schemas.microsoft.com/office/drawing/2014/main" id="{81531DC0-3600-5881-EA1A-1F65E72EE4BE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422" y="1750622"/>
            <a:ext cx="3909238" cy="1091956"/>
          </a:xfrm>
          <a:prstGeom prst="rect">
            <a:avLst/>
          </a:prstGeom>
        </p:spPr>
      </p:pic>
      <p:sp>
        <p:nvSpPr>
          <p:cNvPr id="56" name="TextBox 55">
            <a:extLst>
              <a:ext uri="{FF2B5EF4-FFF2-40B4-BE49-F238E27FC236}">
                <a16:creationId xmlns:a16="http://schemas.microsoft.com/office/drawing/2014/main" id="{2CCA4312-2B1F-2D39-329B-E92DF8B2D2B0}"/>
              </a:ext>
            </a:extLst>
          </p:cNvPr>
          <p:cNvSpPr txBox="1"/>
          <p:nvPr/>
        </p:nvSpPr>
        <p:spPr>
          <a:xfrm>
            <a:off x="267607" y="3257639"/>
            <a:ext cx="1785637" cy="7740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txBody>
          <a:bodyPr wrap="square" anchor="ctr">
            <a:noAutofit/>
          </a:bodyPr>
          <a:lstStyle/>
          <a:p>
            <a:pPr lvl="0" algn="ctr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SzPct val="100000"/>
            </a:pPr>
            <a:r>
              <a:rPr lang="en-US" dirty="0" err="1">
                <a:solidFill>
                  <a:schemeClr val="tx1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Equibiaxial</a:t>
            </a: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, homogeneous</a:t>
            </a:r>
            <a:br>
              <a:rPr lang="en-US" dirty="0">
                <a:solidFill>
                  <a:schemeClr val="tx1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</a:b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strain field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62AB5818-6918-043D-B54F-2DA4B83765D2}"/>
              </a:ext>
            </a:extLst>
          </p:cNvPr>
          <p:cNvSpPr txBox="1"/>
          <p:nvPr/>
        </p:nvSpPr>
        <p:spPr>
          <a:xfrm>
            <a:off x="2275613" y="3260514"/>
            <a:ext cx="1698557" cy="7740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txBody>
          <a:bodyPr wrap="square" anchor="ctr">
            <a:noAutofit/>
          </a:bodyPr>
          <a:lstStyle/>
          <a:p>
            <a:pPr lvl="0" algn="ctr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SzPct val="100000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Verifiable tissue biomechanics with</a:t>
            </a:r>
            <a:br>
              <a:rPr lang="en-US" dirty="0">
                <a:solidFill>
                  <a:schemeClr val="tx1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</a:b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high-speed video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31E32AAB-1643-B2E2-C8C3-F51CCB89419F}"/>
              </a:ext>
            </a:extLst>
          </p:cNvPr>
          <p:cNvSpPr txBox="1"/>
          <p:nvPr/>
        </p:nvSpPr>
        <p:spPr>
          <a:xfrm>
            <a:off x="338623" y="4089862"/>
            <a:ext cx="1698557" cy="85100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txBody>
          <a:bodyPr wrap="square" anchor="ctr">
            <a:noAutofit/>
          </a:bodyPr>
          <a:lstStyle/>
          <a:p>
            <a:pPr lvl="0" algn="ctr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SzPct val="100000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Continuous exposure starting at 1 h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873CEFFF-F530-7C83-A4CE-7C900FD166CC}"/>
              </a:ext>
            </a:extLst>
          </p:cNvPr>
          <p:cNvSpPr txBox="1"/>
          <p:nvPr/>
        </p:nvSpPr>
        <p:spPr>
          <a:xfrm>
            <a:off x="2291677" y="4089862"/>
            <a:ext cx="1698557" cy="85100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sx="99000" sy="99000" algn="tl" rotWithShape="0">
              <a:prstClr val="black">
                <a:alpha val="40000"/>
              </a:prstClr>
            </a:outerShdw>
          </a:effectLst>
        </p:spPr>
        <p:txBody>
          <a:bodyPr wrap="square" anchor="ctr">
            <a:noAutofit/>
          </a:bodyPr>
          <a:lstStyle/>
          <a:p>
            <a:pPr lvl="0" algn="ctr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SzPct val="100000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PI cell death endpoint</a:t>
            </a:r>
            <a:br>
              <a:rPr lang="en-US" dirty="0">
                <a:solidFill>
                  <a:schemeClr val="tx1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</a:b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at 96 h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2813878-2FD8-CC0C-4BFC-5D6ACA64EE1B}"/>
              </a:ext>
            </a:extLst>
          </p:cNvPr>
          <p:cNvGrpSpPr/>
          <p:nvPr/>
        </p:nvGrpSpPr>
        <p:grpSpPr>
          <a:xfrm>
            <a:off x="4716837" y="1637517"/>
            <a:ext cx="4148138" cy="2244674"/>
            <a:chOff x="4724400" y="947562"/>
            <a:chExt cx="4148138" cy="2244674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B3EAEC1E-FFEF-CF07-18FE-77E92D183C60}"/>
                </a:ext>
              </a:extLst>
            </p:cNvPr>
            <p:cNvSpPr/>
            <p:nvPr/>
          </p:nvSpPr>
          <p:spPr>
            <a:xfrm>
              <a:off x="4732538" y="959042"/>
              <a:ext cx="4140000" cy="223319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>
              <a:outerShdw blurRad="127000" rotWithShape="0">
                <a:srgbClr val="000000">
                  <a:alpha val="10000"/>
                </a:srgbClr>
              </a:outerShdw>
            </a:effectLst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/>
              <a:endParaRPr lang="en-US" sz="1800" kern="1200">
                <a:solidFill>
                  <a:srgbClr val="FFFFFF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endParaRP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DD3F576F-5748-376D-D894-6C11792C091C}"/>
                </a:ext>
              </a:extLst>
            </p:cNvPr>
            <p:cNvGrpSpPr/>
            <p:nvPr/>
          </p:nvGrpSpPr>
          <p:grpSpPr>
            <a:xfrm>
              <a:off x="4724400" y="947562"/>
              <a:ext cx="4148138" cy="2086730"/>
              <a:chOff x="4724400" y="1010036"/>
              <a:chExt cx="4148138" cy="2086730"/>
            </a:xfrm>
          </p:grpSpPr>
          <p:grpSp>
            <p:nvGrpSpPr>
              <p:cNvPr id="122" name="Group 121">
                <a:extLst>
                  <a:ext uri="{FF2B5EF4-FFF2-40B4-BE49-F238E27FC236}">
                    <a16:creationId xmlns:a16="http://schemas.microsoft.com/office/drawing/2014/main" id="{418EDDA0-6DD6-B64D-4AA6-A82B48E2C5D6}"/>
                  </a:ext>
                </a:extLst>
              </p:cNvPr>
              <p:cNvGrpSpPr/>
              <p:nvPr/>
            </p:nvGrpSpPr>
            <p:grpSpPr>
              <a:xfrm>
                <a:off x="6827046" y="2592568"/>
                <a:ext cx="180547" cy="89444"/>
                <a:chOff x="5680909" y="3935358"/>
                <a:chExt cx="180547" cy="204940"/>
              </a:xfrm>
            </p:grpSpPr>
            <p:cxnSp>
              <p:nvCxnSpPr>
                <p:cNvPr id="123" name="Straight Connector 122">
                  <a:extLst>
                    <a:ext uri="{FF2B5EF4-FFF2-40B4-BE49-F238E27FC236}">
                      <a16:creationId xmlns:a16="http://schemas.microsoft.com/office/drawing/2014/main" id="{6551F0FF-4955-1D4C-F942-0E32BD710A0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771182" y="3935364"/>
                  <a:ext cx="0" cy="202720"/>
                </a:xfrm>
                <a:prstGeom prst="line">
                  <a:avLst/>
                </a:prstGeom>
                <a:ln w="63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4" name="Straight Connector 123">
                  <a:extLst>
                    <a:ext uri="{FF2B5EF4-FFF2-40B4-BE49-F238E27FC236}">
                      <a16:creationId xmlns:a16="http://schemas.microsoft.com/office/drawing/2014/main" id="{2048D7A0-68BC-4442-2809-E5907C92426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5680909" y="3935358"/>
                  <a:ext cx="180547" cy="6"/>
                </a:xfrm>
                <a:prstGeom prst="line">
                  <a:avLst/>
                </a:prstGeom>
                <a:ln w="63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5" name="Straight Connector 124">
                  <a:extLst>
                    <a:ext uri="{FF2B5EF4-FFF2-40B4-BE49-F238E27FC236}">
                      <a16:creationId xmlns:a16="http://schemas.microsoft.com/office/drawing/2014/main" id="{A56F51B8-D7C3-7D6E-BE50-B8BFA56D38F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5680909" y="4140292"/>
                  <a:ext cx="180547" cy="6"/>
                </a:xfrm>
                <a:prstGeom prst="line">
                  <a:avLst/>
                </a:prstGeom>
                <a:ln w="63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6" name="Group 125">
                <a:extLst>
                  <a:ext uri="{FF2B5EF4-FFF2-40B4-BE49-F238E27FC236}">
                    <a16:creationId xmlns:a16="http://schemas.microsoft.com/office/drawing/2014/main" id="{E7E97A26-07C8-C830-3D4C-1E01997D23F4}"/>
                  </a:ext>
                </a:extLst>
              </p:cNvPr>
              <p:cNvGrpSpPr/>
              <p:nvPr/>
            </p:nvGrpSpPr>
            <p:grpSpPr>
              <a:xfrm>
                <a:off x="8446295" y="2249070"/>
                <a:ext cx="180547" cy="174300"/>
                <a:chOff x="5680909" y="3935358"/>
                <a:chExt cx="180547" cy="204940"/>
              </a:xfrm>
            </p:grpSpPr>
            <p:cxnSp>
              <p:nvCxnSpPr>
                <p:cNvPr id="127" name="Straight Connector 126">
                  <a:extLst>
                    <a:ext uri="{FF2B5EF4-FFF2-40B4-BE49-F238E27FC236}">
                      <a16:creationId xmlns:a16="http://schemas.microsoft.com/office/drawing/2014/main" id="{3C86E684-F1C7-9270-E46D-4B9021DD949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771182" y="3935364"/>
                  <a:ext cx="0" cy="202720"/>
                </a:xfrm>
                <a:prstGeom prst="line">
                  <a:avLst/>
                </a:prstGeom>
                <a:ln w="63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8" name="Straight Connector 127">
                  <a:extLst>
                    <a:ext uri="{FF2B5EF4-FFF2-40B4-BE49-F238E27FC236}">
                      <a16:creationId xmlns:a16="http://schemas.microsoft.com/office/drawing/2014/main" id="{BD7C22C0-3F38-3D5B-1935-BA6A9764A3E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5680909" y="3935358"/>
                  <a:ext cx="180547" cy="6"/>
                </a:xfrm>
                <a:prstGeom prst="line">
                  <a:avLst/>
                </a:prstGeom>
                <a:ln w="63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" name="Straight Connector 128">
                  <a:extLst>
                    <a:ext uri="{FF2B5EF4-FFF2-40B4-BE49-F238E27FC236}">
                      <a16:creationId xmlns:a16="http://schemas.microsoft.com/office/drawing/2014/main" id="{4FF843D7-702F-DBD2-F3B5-6AB32C27FFC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5680909" y="4140292"/>
                  <a:ext cx="180547" cy="6"/>
                </a:xfrm>
                <a:prstGeom prst="line">
                  <a:avLst/>
                </a:prstGeom>
                <a:ln w="63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30" name="Group 129">
                <a:extLst>
                  <a:ext uri="{FF2B5EF4-FFF2-40B4-BE49-F238E27FC236}">
                    <a16:creationId xmlns:a16="http://schemas.microsoft.com/office/drawing/2014/main" id="{FA23DEDA-1ADF-4285-21B5-16F98D8A41AB}"/>
                  </a:ext>
                </a:extLst>
              </p:cNvPr>
              <p:cNvGrpSpPr/>
              <p:nvPr/>
            </p:nvGrpSpPr>
            <p:grpSpPr>
              <a:xfrm>
                <a:off x="7309646" y="2031067"/>
                <a:ext cx="180547" cy="174300"/>
                <a:chOff x="5680909" y="3935358"/>
                <a:chExt cx="180547" cy="204940"/>
              </a:xfrm>
            </p:grpSpPr>
            <p:cxnSp>
              <p:nvCxnSpPr>
                <p:cNvPr id="131" name="Straight Connector 130">
                  <a:extLst>
                    <a:ext uri="{FF2B5EF4-FFF2-40B4-BE49-F238E27FC236}">
                      <a16:creationId xmlns:a16="http://schemas.microsoft.com/office/drawing/2014/main" id="{878799D1-BCB1-39E7-0270-653DABDF17A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771182" y="3935364"/>
                  <a:ext cx="0" cy="202720"/>
                </a:xfrm>
                <a:prstGeom prst="line">
                  <a:avLst/>
                </a:prstGeom>
                <a:ln w="63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" name="Straight Connector 131">
                  <a:extLst>
                    <a:ext uri="{FF2B5EF4-FFF2-40B4-BE49-F238E27FC236}">
                      <a16:creationId xmlns:a16="http://schemas.microsoft.com/office/drawing/2014/main" id="{C7872384-CC01-1F9A-9599-4EF78CD71CE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5680909" y="3935358"/>
                  <a:ext cx="180547" cy="6"/>
                </a:xfrm>
                <a:prstGeom prst="line">
                  <a:avLst/>
                </a:prstGeom>
                <a:ln w="63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" name="Straight Connector 132">
                  <a:extLst>
                    <a:ext uri="{FF2B5EF4-FFF2-40B4-BE49-F238E27FC236}">
                      <a16:creationId xmlns:a16="http://schemas.microsoft.com/office/drawing/2014/main" id="{39A9570E-0D53-C767-172D-541D69D82BF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5680909" y="4140292"/>
                  <a:ext cx="180547" cy="6"/>
                </a:xfrm>
                <a:prstGeom prst="line">
                  <a:avLst/>
                </a:prstGeom>
                <a:ln w="63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34" name="Group 133">
                <a:extLst>
                  <a:ext uri="{FF2B5EF4-FFF2-40B4-BE49-F238E27FC236}">
                    <a16:creationId xmlns:a16="http://schemas.microsoft.com/office/drawing/2014/main" id="{F5B5E0F2-6EA1-0047-1D6A-4C6E30C5C186}"/>
                  </a:ext>
                </a:extLst>
              </p:cNvPr>
              <p:cNvGrpSpPr/>
              <p:nvPr/>
            </p:nvGrpSpPr>
            <p:grpSpPr>
              <a:xfrm>
                <a:off x="7682179" y="2417030"/>
                <a:ext cx="180547" cy="174300"/>
                <a:chOff x="5680909" y="3935358"/>
                <a:chExt cx="180547" cy="204940"/>
              </a:xfrm>
            </p:grpSpPr>
            <p:cxnSp>
              <p:nvCxnSpPr>
                <p:cNvPr id="135" name="Straight Connector 134">
                  <a:extLst>
                    <a:ext uri="{FF2B5EF4-FFF2-40B4-BE49-F238E27FC236}">
                      <a16:creationId xmlns:a16="http://schemas.microsoft.com/office/drawing/2014/main" id="{EEE631B7-9177-4FB8-CD42-3F2DCB39BAE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771182" y="3935364"/>
                  <a:ext cx="0" cy="202720"/>
                </a:xfrm>
                <a:prstGeom prst="line">
                  <a:avLst/>
                </a:prstGeom>
                <a:ln w="63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6" name="Straight Connector 135">
                  <a:extLst>
                    <a:ext uri="{FF2B5EF4-FFF2-40B4-BE49-F238E27FC236}">
                      <a16:creationId xmlns:a16="http://schemas.microsoft.com/office/drawing/2014/main" id="{51D43631-85FA-6F94-E3AF-5C581739A17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5680909" y="3935358"/>
                  <a:ext cx="180547" cy="6"/>
                </a:xfrm>
                <a:prstGeom prst="line">
                  <a:avLst/>
                </a:prstGeom>
                <a:ln w="63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7" name="Straight Connector 136">
                  <a:extLst>
                    <a:ext uri="{FF2B5EF4-FFF2-40B4-BE49-F238E27FC236}">
                      <a16:creationId xmlns:a16="http://schemas.microsoft.com/office/drawing/2014/main" id="{D5B47F03-3EC6-43AC-D203-13C7976DD45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5680909" y="4140292"/>
                  <a:ext cx="180547" cy="6"/>
                </a:xfrm>
                <a:prstGeom prst="line">
                  <a:avLst/>
                </a:prstGeom>
                <a:ln w="63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38" name="Group 137">
                <a:extLst>
                  <a:ext uri="{FF2B5EF4-FFF2-40B4-BE49-F238E27FC236}">
                    <a16:creationId xmlns:a16="http://schemas.microsoft.com/office/drawing/2014/main" id="{E9E99193-C72E-C2E1-C467-B409E3D478C1}"/>
                  </a:ext>
                </a:extLst>
              </p:cNvPr>
              <p:cNvGrpSpPr/>
              <p:nvPr/>
            </p:nvGrpSpPr>
            <p:grpSpPr>
              <a:xfrm>
                <a:off x="8061062" y="2354690"/>
                <a:ext cx="180547" cy="174300"/>
                <a:chOff x="5680909" y="3935358"/>
                <a:chExt cx="180547" cy="204940"/>
              </a:xfrm>
            </p:grpSpPr>
            <p:cxnSp>
              <p:nvCxnSpPr>
                <p:cNvPr id="139" name="Straight Connector 138">
                  <a:extLst>
                    <a:ext uri="{FF2B5EF4-FFF2-40B4-BE49-F238E27FC236}">
                      <a16:creationId xmlns:a16="http://schemas.microsoft.com/office/drawing/2014/main" id="{ADE215E3-63D6-4ABE-670E-62A1ED8C694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771182" y="3935364"/>
                  <a:ext cx="0" cy="202720"/>
                </a:xfrm>
                <a:prstGeom prst="line">
                  <a:avLst/>
                </a:prstGeom>
                <a:ln w="63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0" name="Straight Connector 139">
                  <a:extLst>
                    <a:ext uri="{FF2B5EF4-FFF2-40B4-BE49-F238E27FC236}">
                      <a16:creationId xmlns:a16="http://schemas.microsoft.com/office/drawing/2014/main" id="{405FF521-D1F7-B5C0-85ED-515B27FFA02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5680909" y="3935358"/>
                  <a:ext cx="180547" cy="6"/>
                </a:xfrm>
                <a:prstGeom prst="line">
                  <a:avLst/>
                </a:prstGeom>
                <a:ln w="63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1" name="Straight Connector 140">
                  <a:extLst>
                    <a:ext uri="{FF2B5EF4-FFF2-40B4-BE49-F238E27FC236}">
                      <a16:creationId xmlns:a16="http://schemas.microsoft.com/office/drawing/2014/main" id="{F228B012-4734-539D-7D66-00104D8AF4A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5680909" y="4140292"/>
                  <a:ext cx="180547" cy="6"/>
                </a:xfrm>
                <a:prstGeom prst="line">
                  <a:avLst/>
                </a:prstGeom>
                <a:ln w="63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42" name="Group 141">
                <a:extLst>
                  <a:ext uri="{FF2B5EF4-FFF2-40B4-BE49-F238E27FC236}">
                    <a16:creationId xmlns:a16="http://schemas.microsoft.com/office/drawing/2014/main" id="{8C9C4422-98E6-DE4A-5DC7-3D2B4E54F51C}"/>
                  </a:ext>
                </a:extLst>
              </p:cNvPr>
              <p:cNvGrpSpPr/>
              <p:nvPr/>
            </p:nvGrpSpPr>
            <p:grpSpPr>
              <a:xfrm>
                <a:off x="5680909" y="2580541"/>
                <a:ext cx="180547" cy="130955"/>
                <a:chOff x="5680909" y="3935358"/>
                <a:chExt cx="180547" cy="204940"/>
              </a:xfrm>
            </p:grpSpPr>
            <p:cxnSp>
              <p:nvCxnSpPr>
                <p:cNvPr id="143" name="Straight Connector 142">
                  <a:extLst>
                    <a:ext uri="{FF2B5EF4-FFF2-40B4-BE49-F238E27FC236}">
                      <a16:creationId xmlns:a16="http://schemas.microsoft.com/office/drawing/2014/main" id="{1D29FD67-7802-FAAA-2AF8-60E4FD7C0F4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771182" y="3935364"/>
                  <a:ext cx="0" cy="202720"/>
                </a:xfrm>
                <a:prstGeom prst="line">
                  <a:avLst/>
                </a:prstGeom>
                <a:ln w="63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4" name="Straight Connector 143">
                  <a:extLst>
                    <a:ext uri="{FF2B5EF4-FFF2-40B4-BE49-F238E27FC236}">
                      <a16:creationId xmlns:a16="http://schemas.microsoft.com/office/drawing/2014/main" id="{162A68BF-CED2-BEC8-CF35-4494FF89858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5680909" y="3935358"/>
                  <a:ext cx="180547" cy="6"/>
                </a:xfrm>
                <a:prstGeom prst="line">
                  <a:avLst/>
                </a:prstGeom>
                <a:ln w="63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5" name="Straight Connector 144">
                  <a:extLst>
                    <a:ext uri="{FF2B5EF4-FFF2-40B4-BE49-F238E27FC236}">
                      <a16:creationId xmlns:a16="http://schemas.microsoft.com/office/drawing/2014/main" id="{00E58E32-0E84-1E60-7B44-7746FBAAE0F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5680909" y="4140292"/>
                  <a:ext cx="180547" cy="6"/>
                </a:xfrm>
                <a:prstGeom prst="line">
                  <a:avLst/>
                </a:prstGeom>
                <a:ln w="63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46" name="Group 145">
                <a:extLst>
                  <a:ext uri="{FF2B5EF4-FFF2-40B4-BE49-F238E27FC236}">
                    <a16:creationId xmlns:a16="http://schemas.microsoft.com/office/drawing/2014/main" id="{C72C3351-A1FA-54CE-BBFC-5B2E23004787}"/>
                  </a:ext>
                </a:extLst>
              </p:cNvPr>
              <p:cNvGrpSpPr/>
              <p:nvPr/>
            </p:nvGrpSpPr>
            <p:grpSpPr>
              <a:xfrm>
                <a:off x="6064027" y="2578658"/>
                <a:ext cx="180547" cy="130955"/>
                <a:chOff x="5680909" y="3935358"/>
                <a:chExt cx="180547" cy="204940"/>
              </a:xfrm>
            </p:grpSpPr>
            <p:cxnSp>
              <p:nvCxnSpPr>
                <p:cNvPr id="147" name="Straight Connector 146">
                  <a:extLst>
                    <a:ext uri="{FF2B5EF4-FFF2-40B4-BE49-F238E27FC236}">
                      <a16:creationId xmlns:a16="http://schemas.microsoft.com/office/drawing/2014/main" id="{D81E26B1-24B1-FF7A-D756-ED501C804E2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771182" y="3935364"/>
                  <a:ext cx="0" cy="202720"/>
                </a:xfrm>
                <a:prstGeom prst="line">
                  <a:avLst/>
                </a:prstGeom>
                <a:ln w="63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Straight Connector 147">
                  <a:extLst>
                    <a:ext uri="{FF2B5EF4-FFF2-40B4-BE49-F238E27FC236}">
                      <a16:creationId xmlns:a16="http://schemas.microsoft.com/office/drawing/2014/main" id="{663F29F0-FF2A-E0A0-0519-4B70DDC552C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5680909" y="3935358"/>
                  <a:ext cx="180547" cy="6"/>
                </a:xfrm>
                <a:prstGeom prst="line">
                  <a:avLst/>
                </a:prstGeom>
                <a:ln w="63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Straight Connector 148">
                  <a:extLst>
                    <a:ext uri="{FF2B5EF4-FFF2-40B4-BE49-F238E27FC236}">
                      <a16:creationId xmlns:a16="http://schemas.microsoft.com/office/drawing/2014/main" id="{5D0B8176-6980-3449-13DA-C28571472BF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5680909" y="4140292"/>
                  <a:ext cx="180547" cy="6"/>
                </a:xfrm>
                <a:prstGeom prst="line">
                  <a:avLst/>
                </a:prstGeom>
                <a:ln w="63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50" name="Group 149">
                <a:extLst>
                  <a:ext uri="{FF2B5EF4-FFF2-40B4-BE49-F238E27FC236}">
                    <a16:creationId xmlns:a16="http://schemas.microsoft.com/office/drawing/2014/main" id="{617622CC-D6EB-E675-D1B8-4D569AB52650}"/>
                  </a:ext>
                </a:extLst>
              </p:cNvPr>
              <p:cNvGrpSpPr/>
              <p:nvPr/>
            </p:nvGrpSpPr>
            <p:grpSpPr>
              <a:xfrm>
                <a:off x="6440793" y="2513866"/>
                <a:ext cx="180547" cy="174300"/>
                <a:chOff x="5680909" y="3935358"/>
                <a:chExt cx="180547" cy="204940"/>
              </a:xfrm>
            </p:grpSpPr>
            <p:cxnSp>
              <p:nvCxnSpPr>
                <p:cNvPr id="151" name="Straight Connector 150">
                  <a:extLst>
                    <a:ext uri="{FF2B5EF4-FFF2-40B4-BE49-F238E27FC236}">
                      <a16:creationId xmlns:a16="http://schemas.microsoft.com/office/drawing/2014/main" id="{B285B9A8-DB2B-3A96-E81B-8381961AEC2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771182" y="3935364"/>
                  <a:ext cx="0" cy="202720"/>
                </a:xfrm>
                <a:prstGeom prst="line">
                  <a:avLst/>
                </a:prstGeom>
                <a:ln w="63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Straight Connector 151">
                  <a:extLst>
                    <a:ext uri="{FF2B5EF4-FFF2-40B4-BE49-F238E27FC236}">
                      <a16:creationId xmlns:a16="http://schemas.microsoft.com/office/drawing/2014/main" id="{5C8EB8E3-0029-E8C6-2120-370DD537868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5680909" y="3935358"/>
                  <a:ext cx="180547" cy="6"/>
                </a:xfrm>
                <a:prstGeom prst="line">
                  <a:avLst/>
                </a:prstGeom>
                <a:ln w="63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Straight Connector 152">
                  <a:extLst>
                    <a:ext uri="{FF2B5EF4-FFF2-40B4-BE49-F238E27FC236}">
                      <a16:creationId xmlns:a16="http://schemas.microsoft.com/office/drawing/2014/main" id="{34F5C2BA-FAA9-807D-368D-F5EB35C0DA9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5680909" y="4140292"/>
                  <a:ext cx="180547" cy="6"/>
                </a:xfrm>
                <a:prstGeom prst="line">
                  <a:avLst/>
                </a:prstGeom>
                <a:ln w="63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54" name="TextBox 153">
                <a:extLst>
                  <a:ext uri="{FF2B5EF4-FFF2-40B4-BE49-F238E27FC236}">
                    <a16:creationId xmlns:a16="http://schemas.microsoft.com/office/drawing/2014/main" id="{518DDAF4-C4C9-906A-DBD8-313D187F5256}"/>
                  </a:ext>
                </a:extLst>
              </p:cNvPr>
              <p:cNvSpPr txBox="1"/>
              <p:nvPr/>
            </p:nvSpPr>
            <p:spPr>
              <a:xfrm>
                <a:off x="7651865" y="2242418"/>
                <a:ext cx="235962" cy="18323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8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1</a:t>
                </a:r>
              </a:p>
            </p:txBody>
          </p:sp>
          <p:graphicFrame>
            <p:nvGraphicFramePr>
              <p:cNvPr id="121" name="Chart 120">
                <a:extLst>
                  <a:ext uri="{FF2B5EF4-FFF2-40B4-BE49-F238E27FC236}">
                    <a16:creationId xmlns:a16="http://schemas.microsoft.com/office/drawing/2014/main" id="{2BD30325-5481-51BE-2CF1-14626ADE4BC9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639713640"/>
                  </p:ext>
                </p:extLst>
              </p:nvPr>
            </p:nvGraphicFramePr>
            <p:xfrm>
              <a:off x="4724400" y="1010036"/>
              <a:ext cx="4148138" cy="2086730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6"/>
              </a:graphicData>
            </a:graphic>
          </p:graphicFrame>
        </p:grpSp>
      </p:grpSp>
      <p:sp>
        <p:nvSpPr>
          <p:cNvPr id="50" name="TextBox 49">
            <a:extLst>
              <a:ext uri="{FF2B5EF4-FFF2-40B4-BE49-F238E27FC236}">
                <a16:creationId xmlns:a16="http://schemas.microsoft.com/office/drawing/2014/main" id="{BF0F00BB-6A89-CC13-16D2-0E89435BF190}"/>
              </a:ext>
            </a:extLst>
          </p:cNvPr>
          <p:cNvSpPr txBox="1"/>
          <p:nvPr/>
        </p:nvSpPr>
        <p:spPr>
          <a:xfrm>
            <a:off x="4839756" y="949408"/>
            <a:ext cx="4140000" cy="470742"/>
          </a:xfrm>
          <a:prstGeom prst="rect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1500" b="1">
                <a:solidFill>
                  <a:schemeClr val="l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sym typeface="Arial"/>
              </a:rPr>
              <a:t>High Potency Neuroprotection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693596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CB062AA6-1311-6856-C4FA-DE87BFE8D5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CB062AA6-1311-6856-C4FA-DE87BFE8D5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96F332F-E1CC-445F-0666-57BF107F9B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607" y="17968"/>
            <a:ext cx="8604931" cy="738664"/>
          </a:xfrm>
        </p:spPr>
        <p:txBody>
          <a:bodyPr vert="horz"/>
          <a:lstStyle/>
          <a:p>
            <a:r>
              <a:rPr lang="en-US" dirty="0"/>
              <a:t>NTS-104 (EIDD-1723) Treatment Improves Functional Outcomes Following TBI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8EA65DE-631F-E612-F5A3-91E42D7EAE17}"/>
              </a:ext>
            </a:extLst>
          </p:cNvPr>
          <p:cNvSpPr txBox="1"/>
          <p:nvPr/>
        </p:nvSpPr>
        <p:spPr>
          <a:xfrm>
            <a:off x="3664215" y="2895631"/>
            <a:ext cx="1811714" cy="189195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algn="ctr"/>
            <a:r>
              <a:rPr lang="en-US" sz="900" dirty="0">
                <a:latin typeface="Calibri" panose="020F0502020204030204" pitchFamily="34" charset="0"/>
                <a:cs typeface="Calibri" panose="020F0502020204030204" pitchFamily="34" charset="0"/>
              </a:rPr>
              <a:t>n = 8 per treatment group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FA28FA40-974E-89F0-B480-77308A89102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2199"/>
          <a:stretch/>
        </p:blipFill>
        <p:spPr>
          <a:xfrm>
            <a:off x="702920" y="2878893"/>
            <a:ext cx="2354040" cy="1122984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7AACF95D-4195-047B-FFDF-362D5AD868D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2650"/>
          <a:stretch/>
        </p:blipFill>
        <p:spPr>
          <a:xfrm>
            <a:off x="3477349" y="1595310"/>
            <a:ext cx="2185446" cy="1276153"/>
          </a:xfrm>
          <a:prstGeom prst="rect">
            <a:avLst/>
          </a:prstGeom>
        </p:spPr>
      </p:pic>
      <p:grpSp>
        <p:nvGrpSpPr>
          <p:cNvPr id="44" name="Group 43">
            <a:extLst>
              <a:ext uri="{FF2B5EF4-FFF2-40B4-BE49-F238E27FC236}">
                <a16:creationId xmlns:a16="http://schemas.microsoft.com/office/drawing/2014/main" id="{B25B08A6-D650-BD47-01D9-E5F0C15F6BB7}"/>
              </a:ext>
            </a:extLst>
          </p:cNvPr>
          <p:cNvGrpSpPr/>
          <p:nvPr/>
        </p:nvGrpSpPr>
        <p:grpSpPr>
          <a:xfrm>
            <a:off x="564552" y="1113168"/>
            <a:ext cx="2139876" cy="1334446"/>
            <a:chOff x="394155" y="1153808"/>
            <a:chExt cx="2139876" cy="1334446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8DDD00BB-1268-8487-B3E7-7BCFBB025BF7}"/>
                </a:ext>
              </a:extLst>
            </p:cNvPr>
            <p:cNvSpPr txBox="1"/>
            <p:nvPr/>
          </p:nvSpPr>
          <p:spPr>
            <a:xfrm>
              <a:off x="709066" y="2299059"/>
              <a:ext cx="335250" cy="189195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900" dirty="0">
                  <a:latin typeface="Calibri" panose="020F0502020204030204" pitchFamily="34" charset="0"/>
                  <a:cs typeface="Calibri" panose="020F0502020204030204" pitchFamily="34" charset="0"/>
                </a:rPr>
                <a:t>n = 3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461B5D7F-64E7-E919-4AE6-A1BEDBF69371}"/>
                </a:ext>
              </a:extLst>
            </p:cNvPr>
            <p:cNvSpPr txBox="1"/>
            <p:nvPr/>
          </p:nvSpPr>
          <p:spPr>
            <a:xfrm>
              <a:off x="1170401" y="2299059"/>
              <a:ext cx="335250" cy="189195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900" dirty="0">
                  <a:latin typeface="Calibri" panose="020F0502020204030204" pitchFamily="34" charset="0"/>
                  <a:cs typeface="Calibri" panose="020F0502020204030204" pitchFamily="34" charset="0"/>
                </a:rPr>
                <a:t>n = 4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A4A41E84-27E0-C38E-732A-1A0ED98DDBE9}"/>
                </a:ext>
              </a:extLst>
            </p:cNvPr>
            <p:cNvSpPr txBox="1"/>
            <p:nvPr/>
          </p:nvSpPr>
          <p:spPr>
            <a:xfrm>
              <a:off x="1631736" y="2299059"/>
              <a:ext cx="335250" cy="189195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900" dirty="0">
                  <a:latin typeface="Calibri" panose="020F0502020204030204" pitchFamily="34" charset="0"/>
                  <a:cs typeface="Calibri" panose="020F0502020204030204" pitchFamily="34" charset="0"/>
                </a:rPr>
                <a:t>n = 4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B42E5FE-7161-7F7C-F416-0A4D9539A965}"/>
                </a:ext>
              </a:extLst>
            </p:cNvPr>
            <p:cNvSpPr txBox="1"/>
            <p:nvPr/>
          </p:nvSpPr>
          <p:spPr>
            <a:xfrm>
              <a:off x="2093072" y="2299059"/>
              <a:ext cx="335250" cy="189195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900" dirty="0">
                  <a:latin typeface="Calibri" panose="020F0502020204030204" pitchFamily="34" charset="0"/>
                  <a:cs typeface="Calibri" panose="020F0502020204030204" pitchFamily="34" charset="0"/>
                </a:rPr>
                <a:t>n = 4</a:t>
              </a:r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B94E4F14-FFC8-4D7B-1C5D-DD921FBB55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t="12635"/>
            <a:stretch/>
          </p:blipFill>
          <p:spPr>
            <a:xfrm>
              <a:off x="394155" y="1153808"/>
              <a:ext cx="2139876" cy="1157946"/>
            </a:xfrm>
            <a:prstGeom prst="rect">
              <a:avLst/>
            </a:prstGeom>
          </p:spPr>
        </p:pic>
      </p:grpSp>
      <p:pic>
        <p:nvPicPr>
          <p:cNvPr id="26" name="Picture 25">
            <a:extLst>
              <a:ext uri="{FF2B5EF4-FFF2-40B4-BE49-F238E27FC236}">
                <a16:creationId xmlns:a16="http://schemas.microsoft.com/office/drawing/2014/main" id="{0B47E8A7-E6F3-14A4-C597-9D8F8966213E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11637"/>
          <a:stretch/>
        </p:blipFill>
        <p:spPr>
          <a:xfrm>
            <a:off x="6376227" y="1113168"/>
            <a:ext cx="2258857" cy="1221206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0704068B-83D7-DD3C-DC37-8710B26F1DAD}"/>
              </a:ext>
            </a:extLst>
          </p:cNvPr>
          <p:cNvSpPr txBox="1"/>
          <p:nvPr/>
        </p:nvSpPr>
        <p:spPr>
          <a:xfrm>
            <a:off x="267607" y="846026"/>
            <a:ext cx="2733766" cy="238016"/>
          </a:xfrm>
          <a:prstGeom prst="rect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1500" b="1">
                <a:solidFill>
                  <a:schemeClr val="l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Edema level at 24</a:t>
            </a:r>
            <a:r>
              <a:rPr kumimoji="0" lang="en-US" sz="1200" b="1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th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 post TBI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79C3A3F-DDAD-6F26-CB5C-2195EB0E62AD}"/>
              </a:ext>
            </a:extLst>
          </p:cNvPr>
          <p:cNvSpPr txBox="1"/>
          <p:nvPr/>
        </p:nvSpPr>
        <p:spPr>
          <a:xfrm>
            <a:off x="3203189" y="1328168"/>
            <a:ext cx="2733766" cy="238016"/>
          </a:xfrm>
          <a:prstGeom prst="rect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1500" b="1">
                <a:solidFill>
                  <a:schemeClr val="l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Grip strength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582E4FB-8FF9-568B-AB13-5C460A5C7051}"/>
              </a:ext>
            </a:extLst>
          </p:cNvPr>
          <p:cNvSpPr txBox="1"/>
          <p:nvPr/>
        </p:nvSpPr>
        <p:spPr>
          <a:xfrm>
            <a:off x="6138772" y="846026"/>
            <a:ext cx="2733766" cy="238016"/>
          </a:xfrm>
          <a:prstGeom prst="rect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1500" b="1">
                <a:solidFill>
                  <a:schemeClr val="l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Latency to remove sticke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9EB4FE5-3DBC-E4D7-9C12-C999F5DF9F38}"/>
              </a:ext>
            </a:extLst>
          </p:cNvPr>
          <p:cNvSpPr txBox="1"/>
          <p:nvPr/>
        </p:nvSpPr>
        <p:spPr>
          <a:xfrm>
            <a:off x="3477997" y="4193848"/>
            <a:ext cx="566934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8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p&lt;0.05 CCI </a:t>
            </a:r>
            <a:r>
              <a:rPr lang="en-US" sz="800" dirty="0" err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h</a:t>
            </a:r>
            <a:r>
              <a:rPr lang="en-US" sz="8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vs Sham; #p&lt;0.05 drug vs </a:t>
            </a:r>
            <a:r>
              <a:rPr lang="en-US" sz="800" dirty="0" err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h</a:t>
            </a:r>
            <a:endParaRPr lang="en-US" sz="8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3116B6F-5317-322A-93C1-7F3D18E6FAF8}"/>
              </a:ext>
            </a:extLst>
          </p:cNvPr>
          <p:cNvSpPr txBox="1"/>
          <p:nvPr/>
        </p:nvSpPr>
        <p:spPr>
          <a:xfrm>
            <a:off x="267606" y="2622715"/>
            <a:ext cx="3100433" cy="238016"/>
          </a:xfrm>
          <a:prstGeom prst="rect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1500" b="1">
                <a:solidFill>
                  <a:schemeClr val="l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Latency to reach the platform in trial 2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3049B89-4770-AA42-E548-91A932E74E4A}"/>
              </a:ext>
            </a:extLst>
          </p:cNvPr>
          <p:cNvSpPr/>
          <p:nvPr/>
        </p:nvSpPr>
        <p:spPr>
          <a:xfrm>
            <a:off x="342424" y="4239643"/>
            <a:ext cx="2632438" cy="831369"/>
          </a:xfrm>
          <a:prstGeom prst="rect">
            <a:avLst/>
          </a:prstGeom>
          <a:noFill/>
          <a:ln w="12700">
            <a:solidFill>
              <a:srgbClr val="DF623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TS-104 dosing post-TBI</a:t>
            </a:r>
          </a:p>
          <a:p>
            <a:pPr algn="ctr"/>
            <a:r>
              <a:rPr lang="en-US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 h, 6h, 24 h, then once daily to 7 days (last 2 days tapered)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18B6921-C96D-260F-F509-690901D2AC47}"/>
              </a:ext>
            </a:extLst>
          </p:cNvPr>
          <p:cNvSpPr txBox="1"/>
          <p:nvPr/>
        </p:nvSpPr>
        <p:spPr>
          <a:xfrm>
            <a:off x="6728291" y="2335917"/>
            <a:ext cx="1811714" cy="189195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algn="ctr"/>
            <a:r>
              <a:rPr lang="en-US" sz="900" dirty="0">
                <a:latin typeface="Calibri" panose="020F0502020204030204" pitchFamily="34" charset="0"/>
                <a:cs typeface="Calibri" panose="020F0502020204030204" pitchFamily="34" charset="0"/>
              </a:rPr>
              <a:t>n = 8 per treatment group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4A85CB6-FFF6-A318-1FE7-C2070BF9F29E}"/>
              </a:ext>
            </a:extLst>
          </p:cNvPr>
          <p:cNvSpPr txBox="1"/>
          <p:nvPr/>
        </p:nvSpPr>
        <p:spPr>
          <a:xfrm>
            <a:off x="6138772" y="2622715"/>
            <a:ext cx="2733766" cy="201221"/>
          </a:xfrm>
          <a:prstGeom prst="rect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1500" b="1">
                <a:solidFill>
                  <a:schemeClr val="l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Necrotic cavity measurement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9FDD6FA5-5115-7345-16FC-18ED3D72E5E1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8862" t="50784" r="8274" b="3847"/>
          <a:stretch/>
        </p:blipFill>
        <p:spPr>
          <a:xfrm>
            <a:off x="6312671" y="2898613"/>
            <a:ext cx="2019300" cy="1016001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276E9FB6-0F4C-9552-2597-747EA9C03BAC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4692" b="66775"/>
          <a:stretch/>
        </p:blipFill>
        <p:spPr>
          <a:xfrm>
            <a:off x="3416300" y="3150966"/>
            <a:ext cx="2322565" cy="744058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275564CD-5ED2-DD2C-9CD0-A43C610E5036}"/>
              </a:ext>
            </a:extLst>
          </p:cNvPr>
          <p:cNvSpPr txBox="1"/>
          <p:nvPr/>
        </p:nvSpPr>
        <p:spPr>
          <a:xfrm>
            <a:off x="990143" y="3987523"/>
            <a:ext cx="1811714" cy="189195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algn="ctr"/>
            <a:r>
              <a:rPr lang="en-US" sz="900" dirty="0">
                <a:latin typeface="Calibri" panose="020F0502020204030204" pitchFamily="34" charset="0"/>
                <a:cs typeface="Calibri" panose="020F0502020204030204" pitchFamily="34" charset="0"/>
              </a:rPr>
              <a:t>n = 8 per treatment group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D6DBCD0-79AE-A912-304D-4C0DF651C595}"/>
              </a:ext>
            </a:extLst>
          </p:cNvPr>
          <p:cNvSpPr txBox="1"/>
          <p:nvPr/>
        </p:nvSpPr>
        <p:spPr>
          <a:xfrm>
            <a:off x="6571747" y="3897127"/>
            <a:ext cx="1811714" cy="189195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algn="ctr"/>
            <a:r>
              <a:rPr lang="en-US" sz="900" dirty="0">
                <a:latin typeface="Calibri" panose="020F0502020204030204" pitchFamily="34" charset="0"/>
                <a:cs typeface="Calibri" panose="020F0502020204030204" pitchFamily="34" charset="0"/>
              </a:rPr>
              <a:t>n = 8 per treatment group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857122C-CD42-406E-25FA-A81315D63F08}"/>
              </a:ext>
            </a:extLst>
          </p:cNvPr>
          <p:cNvSpPr txBox="1"/>
          <p:nvPr/>
        </p:nvSpPr>
        <p:spPr>
          <a:xfrm>
            <a:off x="3664215" y="780800"/>
            <a:ext cx="1838234" cy="477054"/>
          </a:xfrm>
          <a:prstGeom prst="rect">
            <a:avLst/>
          </a:prstGeom>
          <a:gradFill flip="none" rotWithShape="1">
            <a:gsLst>
              <a:gs pos="74700">
                <a:srgbClr val="1B3C6C"/>
              </a:gs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lin ang="13500000" scaled="1"/>
            <a:tileRect/>
          </a:gradFill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CCI In Rat</a:t>
            </a:r>
          </a:p>
          <a:p>
            <a:pPr algn="ctr"/>
            <a:r>
              <a:rPr lang="en-US" sz="1100" b="1" dirty="0" err="1">
                <a:solidFill>
                  <a:schemeClr val="bg1"/>
                </a:solidFill>
              </a:rPr>
              <a:t>Wali</a:t>
            </a:r>
            <a:r>
              <a:rPr lang="en-US" sz="1100" b="1" dirty="0">
                <a:solidFill>
                  <a:schemeClr val="bg1"/>
                </a:solidFill>
              </a:rPr>
              <a:t> et al., 2016</a:t>
            </a:r>
          </a:p>
        </p:txBody>
      </p:sp>
    </p:spTree>
    <p:extLst>
      <p:ext uri="{BB962C8B-B14F-4D97-AF65-F5344CB8AC3E}">
        <p14:creationId xmlns:p14="http://schemas.microsoft.com/office/powerpoint/2010/main" val="28413550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39F39C6A-B48D-E38E-C612-F4A0DBDE85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39F39C6A-B48D-E38E-C612-F4A0DBDE85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DD34A0D-93A8-4123-B0FD-91AD3B06FB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607" y="17968"/>
            <a:ext cx="8604931" cy="738664"/>
          </a:xfrm>
        </p:spPr>
        <p:txBody>
          <a:bodyPr vert="horz"/>
          <a:lstStyle/>
          <a:p>
            <a:r>
              <a:rPr lang="en-US" dirty="0"/>
              <a:t>Moderate-Severe TBI Pilot Study: NTS-104 Reduced Edema and Improves Cognitive Outcome (Lateral Fluid Percussion In Rat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83E33D2-F54C-4C77-A755-AC310D201E9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4634"/>
          <a:stretch/>
        </p:blipFill>
        <p:spPr>
          <a:xfrm>
            <a:off x="693421" y="2904857"/>
            <a:ext cx="1320281" cy="191313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459BE21-5B24-48C2-A99F-69E73EE67CB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5939"/>
          <a:stretch/>
        </p:blipFill>
        <p:spPr>
          <a:xfrm>
            <a:off x="2837015" y="2904858"/>
            <a:ext cx="1269472" cy="189693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5BF7624-BF26-BC9B-DDFF-A3EE3636633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79871" y="1500718"/>
            <a:ext cx="2891293" cy="341957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0080F17-91A0-90C6-BCF3-2F21CBE14039}"/>
              </a:ext>
            </a:extLst>
          </p:cNvPr>
          <p:cNvSpPr txBox="1"/>
          <p:nvPr/>
        </p:nvSpPr>
        <p:spPr>
          <a:xfrm>
            <a:off x="267607" y="2604519"/>
            <a:ext cx="2031094" cy="238016"/>
          </a:xfrm>
          <a:prstGeom prst="rect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1500" b="1">
                <a:solidFill>
                  <a:schemeClr val="l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Contralateral Cortex Volum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46A2582-5B1B-918A-91BE-2B6FF130DCD2}"/>
              </a:ext>
            </a:extLst>
          </p:cNvPr>
          <p:cNvSpPr txBox="1"/>
          <p:nvPr/>
        </p:nvSpPr>
        <p:spPr>
          <a:xfrm>
            <a:off x="2388506" y="2604519"/>
            <a:ext cx="2031094" cy="238016"/>
          </a:xfrm>
          <a:prstGeom prst="rect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1500" b="1">
                <a:solidFill>
                  <a:schemeClr val="l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Ipsilateral Cortex Volum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0BFB609-7EA2-278B-240E-F9FA41443459}"/>
              </a:ext>
            </a:extLst>
          </p:cNvPr>
          <p:cNvSpPr txBox="1"/>
          <p:nvPr/>
        </p:nvSpPr>
        <p:spPr>
          <a:xfrm>
            <a:off x="4724400" y="897369"/>
            <a:ext cx="4148137" cy="469683"/>
          </a:xfrm>
          <a:prstGeom prst="rect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1500" b="1">
                <a:solidFill>
                  <a:schemeClr val="l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Effect of NTS-104 administration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</a:b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(IM 4, 10, 24, 48 hours after injury, n = 12)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5C4F20A-8CE1-1CD6-E0B9-3EA51A69A8C7}"/>
              </a:ext>
            </a:extLst>
          </p:cNvPr>
          <p:cNvSpPr/>
          <p:nvPr/>
        </p:nvSpPr>
        <p:spPr>
          <a:xfrm>
            <a:off x="267607" y="897369"/>
            <a:ext cx="4148137" cy="1666216"/>
          </a:xfrm>
          <a:prstGeom prst="rect">
            <a:avLst/>
          </a:prstGeom>
          <a:solidFill>
            <a:srgbClr val="FFFFFF"/>
          </a:solidFill>
          <a:ln w="12700" cap="flat">
            <a:noFill/>
            <a:miter lim="400000"/>
          </a:ln>
          <a:effectLst>
            <a:outerShdw blurRad="127000" rotWithShape="0">
              <a:srgbClr val="000000">
                <a:alpha val="10000"/>
              </a:srgbClr>
            </a:outerShdw>
          </a:effectLst>
        </p:spPr>
        <p:txBody>
          <a:bodyPr wrap="square" lIns="45718" tIns="45718" rIns="45718" bIns="45718" numCol="1" anchor="ctr">
            <a:noAutofit/>
          </a:bodyPr>
          <a:lstStyle/>
          <a:p>
            <a:pPr algn="ctr"/>
            <a:endParaRPr lang="en-US" sz="18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5" name="Picture 3" descr="https://lh5.googleusercontent.com/NZSqq7nV9nFoITNQ85AQER9Z-E7I_PSHXuClbGVOLbM2UWKFEeA034cV6YnDJyPIhnUOK9HmBzjaSKjaCCMAvG59D2oYq_1Mx7_h2xcaE4x5T5KMY74GIDacUbI8aUZ0RINmqblg58k">
            <a:extLst>
              <a:ext uri="{FF2B5EF4-FFF2-40B4-BE49-F238E27FC236}">
                <a16:creationId xmlns:a16="http://schemas.microsoft.com/office/drawing/2014/main" id="{75BC3BBB-D4B9-4ACB-A8BF-CAF9C2BAE8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4770" y="956969"/>
            <a:ext cx="2233810" cy="15470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770B0161-17B5-DF6D-FAE2-FA859F117DF6}"/>
              </a:ext>
            </a:extLst>
          </p:cNvPr>
          <p:cNvSpPr txBox="1"/>
          <p:nvPr/>
        </p:nvSpPr>
        <p:spPr>
          <a:xfrm>
            <a:off x="693421" y="4859508"/>
            <a:ext cx="657376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8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te: SUNY study – pilot TBI 090820</a:t>
            </a:r>
          </a:p>
        </p:txBody>
      </p:sp>
    </p:spTree>
    <p:extLst>
      <p:ext uri="{BB962C8B-B14F-4D97-AF65-F5344CB8AC3E}">
        <p14:creationId xmlns:p14="http://schemas.microsoft.com/office/powerpoint/2010/main" val="161955496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D09C47B-0011-E040-56BA-372E72A893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D09C47B-0011-E040-56BA-372E72A893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>
            <a:extLst>
              <a:ext uri="{FF2B5EF4-FFF2-40B4-BE49-F238E27FC236}">
                <a16:creationId xmlns:a16="http://schemas.microsoft.com/office/drawing/2014/main" id="{EDCA82CD-0454-35C3-2BD5-1727D15CEBB3}"/>
              </a:ext>
            </a:extLst>
          </p:cNvPr>
          <p:cNvSpPr/>
          <p:nvPr/>
        </p:nvSpPr>
        <p:spPr>
          <a:xfrm>
            <a:off x="0" y="-1"/>
            <a:ext cx="9144000" cy="1347305"/>
          </a:xfrm>
          <a:prstGeom prst="rect">
            <a:avLst/>
          </a:prstGeom>
          <a:solidFill>
            <a:srgbClr val="0514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B9F073-9C4B-4986-BAD4-EC9339F192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607" y="202634"/>
            <a:ext cx="8604931" cy="369332"/>
          </a:xfrm>
        </p:spPr>
        <p:txBody>
          <a:bodyPr vert="horz">
            <a:normAutofit fontScale="90000"/>
          </a:bodyPr>
          <a:lstStyle/>
          <a:p>
            <a:r>
              <a:rPr lang="en-US" sz="2700" dirty="0">
                <a:solidFill>
                  <a:schemeClr val="bg1"/>
                </a:solidFill>
              </a:rPr>
              <a:t>Cerebrovascular Fibrin Exposure: NTS-105 Reduced Markers Of Cerebrovascular Endothelial Cell Damage And Inflammation</a:t>
            </a:r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E078405E-4DB5-486B-A05A-9DD5BC7782D0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5"/>
          <a:stretch>
            <a:fillRect/>
          </a:stretch>
        </p:blipFill>
        <p:spPr>
          <a:xfrm>
            <a:off x="1245923" y="1926999"/>
            <a:ext cx="2523198" cy="2621912"/>
          </a:xfr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83F099D-CDB2-4D82-9495-99CB42E9247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3456" r="19502" b="85344"/>
          <a:stretch/>
        </p:blipFill>
        <p:spPr>
          <a:xfrm>
            <a:off x="718211" y="1415023"/>
            <a:ext cx="3578622" cy="44425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DF78583-AA9E-2C59-9150-5C7A553485F4}"/>
              </a:ext>
            </a:extLst>
          </p:cNvPr>
          <p:cNvSpPr txBox="1"/>
          <p:nvPr/>
        </p:nvSpPr>
        <p:spPr>
          <a:xfrm>
            <a:off x="267607" y="796456"/>
            <a:ext cx="8586120" cy="52322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ngle mild TBI in SHR Rats—persistent fibrin accumulation, disrupted neurovascular function and neuroinflammation (</a:t>
            </a:r>
            <a:r>
              <a:rPr lang="en-US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zarka</a:t>
            </a:r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et al., Int J Mol Sci, 2019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17EA691-55BA-663F-2459-F954CD7641E4}"/>
              </a:ext>
            </a:extLst>
          </p:cNvPr>
          <p:cNvSpPr txBox="1"/>
          <p:nvPr/>
        </p:nvSpPr>
        <p:spPr>
          <a:xfrm rot="16200000">
            <a:off x="-340546" y="3084067"/>
            <a:ext cx="15240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Inflamma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DDB28BA-6BC1-CE3E-6431-F42CF487A18C}"/>
              </a:ext>
            </a:extLst>
          </p:cNvPr>
          <p:cNvSpPr/>
          <p:nvPr/>
        </p:nvSpPr>
        <p:spPr>
          <a:xfrm>
            <a:off x="4967371" y="1439516"/>
            <a:ext cx="3908342" cy="30499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EB0D6AC-FF0A-3981-2270-37ED0818F560}"/>
              </a:ext>
            </a:extLst>
          </p:cNvPr>
          <p:cNvSpPr txBox="1"/>
          <p:nvPr/>
        </p:nvSpPr>
        <p:spPr>
          <a:xfrm>
            <a:off x="267607" y="4626415"/>
            <a:ext cx="8608106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8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ource:  NTS Study, M. </a:t>
            </a:r>
            <a:r>
              <a:rPr lang="en-US" sz="800" dirty="0" err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opp</a:t>
            </a:r>
            <a:endParaRPr lang="en-US" sz="8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D599D16-0BBE-3532-BEA1-612313899E0F}"/>
              </a:ext>
            </a:extLst>
          </p:cNvPr>
          <p:cNvSpPr txBox="1"/>
          <p:nvPr/>
        </p:nvSpPr>
        <p:spPr>
          <a:xfrm>
            <a:off x="4732538" y="1573438"/>
            <a:ext cx="4140000" cy="365505"/>
          </a:xfrm>
          <a:prstGeom prst="rect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1500" b="1">
                <a:solidFill>
                  <a:schemeClr val="l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In cultured cerebrovascular endothelial cell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20474CA-61FB-765F-328D-7720D09B0506}"/>
              </a:ext>
            </a:extLst>
          </p:cNvPr>
          <p:cNvSpPr txBox="1"/>
          <p:nvPr/>
        </p:nvSpPr>
        <p:spPr>
          <a:xfrm>
            <a:off x="5054600" y="2179211"/>
            <a:ext cx="3817938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Fibrin stimulates inflammatory marker and reduces tight junction protein expression</a:t>
            </a:r>
          </a:p>
          <a:p>
            <a:pPr>
              <a:spcAft>
                <a:spcPts val="1200"/>
              </a:spcAft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NTS-105 reduces inflammation induced</a:t>
            </a:r>
            <a:b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by fibrin</a:t>
            </a:r>
          </a:p>
          <a:p>
            <a:pPr>
              <a:spcAft>
                <a:spcPts val="1200"/>
              </a:spcAft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NTS-105 increases expression of tight junction markers reduced by fibrin</a:t>
            </a: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Right Triangle 14">
            <a:extLst>
              <a:ext uri="{FF2B5EF4-FFF2-40B4-BE49-F238E27FC236}">
                <a16:creationId xmlns:a16="http://schemas.microsoft.com/office/drawing/2014/main" id="{2D9B481D-3CA7-9598-CCC7-08609CF3CE71}"/>
              </a:ext>
            </a:extLst>
          </p:cNvPr>
          <p:cNvSpPr/>
          <p:nvPr/>
        </p:nvSpPr>
        <p:spPr>
          <a:xfrm flipH="1" flipV="1">
            <a:off x="4732538" y="1938940"/>
            <a:ext cx="231658" cy="174633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5760" tIns="45720" rIns="91440" bIns="45720" rtlCol="0" anchor="ctr">
            <a:noAutofit/>
          </a:bodyPr>
          <a:lstStyle/>
          <a:p>
            <a:pPr defTabSz="914377"/>
            <a:endParaRPr lang="en-US" sz="1700" b="1">
              <a:solidFill>
                <a:srgbClr val="000000"/>
              </a:solidFill>
              <a:latin typeface="Speedee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483F132-651B-4283-4B29-1D1B8EEB9B50}"/>
              </a:ext>
            </a:extLst>
          </p:cNvPr>
          <p:cNvCxnSpPr>
            <a:cxnSpLocks/>
          </p:cNvCxnSpPr>
          <p:nvPr/>
        </p:nvCxnSpPr>
        <p:spPr>
          <a:xfrm>
            <a:off x="4968835" y="1938940"/>
            <a:ext cx="0" cy="255051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4A21E75F-06BE-6269-E7C0-BAE0C7A67C28}"/>
              </a:ext>
            </a:extLst>
          </p:cNvPr>
          <p:cNvSpPr/>
          <p:nvPr/>
        </p:nvSpPr>
        <p:spPr>
          <a:xfrm>
            <a:off x="4877215" y="2236406"/>
            <a:ext cx="161510" cy="161512"/>
          </a:xfrm>
          <a:prstGeom prst="ellipse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28575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t"/>
          <a:lstStyle/>
          <a:p>
            <a:endParaRPr lang="en-US" sz="1200" b="1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93AAFE90-0634-E272-8FD7-13C6811D8C22}"/>
              </a:ext>
            </a:extLst>
          </p:cNvPr>
          <p:cNvSpPr/>
          <p:nvPr/>
        </p:nvSpPr>
        <p:spPr>
          <a:xfrm>
            <a:off x="4877215" y="2832701"/>
            <a:ext cx="161510" cy="161512"/>
          </a:xfrm>
          <a:prstGeom prst="ellipse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28575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t"/>
          <a:lstStyle/>
          <a:p>
            <a:endParaRPr lang="en-US" sz="1200" b="1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DA1A19DE-E761-C132-38BB-E3E7B82300AE}"/>
              </a:ext>
            </a:extLst>
          </p:cNvPr>
          <p:cNvSpPr/>
          <p:nvPr/>
        </p:nvSpPr>
        <p:spPr>
          <a:xfrm>
            <a:off x="4877215" y="3415103"/>
            <a:ext cx="161510" cy="161512"/>
          </a:xfrm>
          <a:prstGeom prst="ellipse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28575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t"/>
          <a:lstStyle/>
          <a:p>
            <a:endParaRPr lang="en-US" sz="1200" b="1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65283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81555758-A83E-868C-F135-ACD15B9B52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5" name="Object 24" hidden="1">
                        <a:extLst>
                          <a:ext uri="{FF2B5EF4-FFF2-40B4-BE49-F238E27FC236}">
                            <a16:creationId xmlns:a16="http://schemas.microsoft.com/office/drawing/2014/main" id="{81555758-A83E-868C-F135-ACD15B9B52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34C4D47D-E5B4-624A-8119-6985C9C66D50}"/>
              </a:ext>
            </a:extLst>
          </p:cNvPr>
          <p:cNvSpPr txBox="1">
            <a:spLocks/>
          </p:cNvSpPr>
          <p:nvPr/>
        </p:nvSpPr>
        <p:spPr>
          <a:xfrm>
            <a:off x="228600" y="273843"/>
            <a:ext cx="8686800" cy="672084"/>
          </a:xfrm>
          <a:prstGeom prst="rect">
            <a:avLst/>
          </a:prstGeom>
        </p:spPr>
        <p:txBody>
          <a:bodyPr anchor="ctr"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bg1"/>
                </a:solidFill>
                <a:latin typeface="+mj-lt"/>
                <a:ea typeface="MS PGothic" panose="020B0600070205080204" pitchFamily="34" charset="-128"/>
                <a:cs typeface="+mj-cs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endParaRPr lang="en-US" sz="24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D91DA8B-470B-CC44-AFB1-2F0FC56EA4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607" y="202634"/>
            <a:ext cx="8604931" cy="369332"/>
          </a:xfrm>
        </p:spPr>
        <p:txBody>
          <a:bodyPr vert="horz">
            <a:normAutofit fontScale="90000"/>
          </a:bodyPr>
          <a:lstStyle/>
          <a:p>
            <a:r>
              <a:rPr lang="en-US" sz="2700" dirty="0"/>
              <a:t>NTS-104 Improves Neurological Function After Ischemic Stroke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2B2A6221-1B61-674E-5C0C-304FB17395A6}"/>
              </a:ext>
            </a:extLst>
          </p:cNvPr>
          <p:cNvSpPr/>
          <p:nvPr/>
        </p:nvSpPr>
        <p:spPr>
          <a:xfrm>
            <a:off x="2375807" y="1041517"/>
            <a:ext cx="6496731" cy="3542384"/>
          </a:xfrm>
          <a:prstGeom prst="rect">
            <a:avLst/>
          </a:prstGeom>
          <a:solidFill>
            <a:srgbClr val="FFFFFF"/>
          </a:solidFill>
          <a:ln w="12700" cap="flat">
            <a:noFill/>
            <a:miter lim="400000"/>
          </a:ln>
          <a:effectLst>
            <a:outerShdw blurRad="127000" rotWithShape="0">
              <a:srgbClr val="000000">
                <a:alpha val="10000"/>
              </a:srgbClr>
            </a:outerShdw>
          </a:effectLst>
        </p:spPr>
        <p:txBody>
          <a:bodyPr wrap="square" lIns="45718" tIns="45718" rIns="45718" bIns="45718" numCol="1" anchor="ctr">
            <a:noAutofit/>
          </a:bodyPr>
          <a:lstStyle/>
          <a:p>
            <a:pPr algn="ctr"/>
            <a:endParaRPr lang="en-US" sz="1800" kern="120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0252F7B-6DE6-25E8-452D-EC3F77C655AF}"/>
              </a:ext>
            </a:extLst>
          </p:cNvPr>
          <p:cNvCxnSpPr>
            <a:cxnSpLocks/>
          </p:cNvCxnSpPr>
          <p:nvPr/>
        </p:nvCxnSpPr>
        <p:spPr>
          <a:xfrm>
            <a:off x="5624172" y="1158534"/>
            <a:ext cx="0" cy="330835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FBD1447-2D7B-17B3-B103-FD0A215D4183}"/>
              </a:ext>
            </a:extLst>
          </p:cNvPr>
          <p:cNvCxnSpPr>
            <a:cxnSpLocks/>
          </p:cNvCxnSpPr>
          <p:nvPr/>
        </p:nvCxnSpPr>
        <p:spPr>
          <a:xfrm>
            <a:off x="2538072" y="2800350"/>
            <a:ext cx="61722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2" name="Object 41">
            <a:extLst>
              <a:ext uri="{FF2B5EF4-FFF2-40B4-BE49-F238E27FC236}">
                <a16:creationId xmlns:a16="http://schemas.microsoft.com/office/drawing/2014/main" id="{57DD06CB-94AE-67D5-9BBF-C3B5FF78CFB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737749" y="1018555"/>
          <a:ext cx="2575128" cy="14513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rism 9" r:id="rId5" imgW="8775427" imgH="4584840" progId="Prism9.Document">
                  <p:embed/>
                </p:oleObj>
              </mc:Choice>
              <mc:Fallback>
                <p:oleObj name="Prism 9" r:id="rId5" imgW="8775427" imgH="4584840" progId="Prism9.Document">
                  <p:embed/>
                  <p:pic>
                    <p:nvPicPr>
                      <p:cNvPr id="42" name="Object 41">
                        <a:extLst>
                          <a:ext uri="{FF2B5EF4-FFF2-40B4-BE49-F238E27FC236}">
                            <a16:creationId xmlns:a16="http://schemas.microsoft.com/office/drawing/2014/main" id="{57DD06CB-94AE-67D5-9BBF-C3B5FF78CF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737749" y="1018555"/>
                        <a:ext cx="2575128" cy="14513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TextBox 42">
            <a:extLst>
              <a:ext uri="{FF2B5EF4-FFF2-40B4-BE49-F238E27FC236}">
                <a16:creationId xmlns:a16="http://schemas.microsoft.com/office/drawing/2014/main" id="{C0B1FD46-0F63-89B5-E302-1FB169788641}"/>
              </a:ext>
            </a:extLst>
          </p:cNvPr>
          <p:cNvSpPr txBox="1"/>
          <p:nvPr/>
        </p:nvSpPr>
        <p:spPr>
          <a:xfrm>
            <a:off x="2896318" y="2440201"/>
            <a:ext cx="1639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C3C0213-6B02-512E-D4EA-066DCCD1FA91}"/>
              </a:ext>
            </a:extLst>
          </p:cNvPr>
          <p:cNvSpPr txBox="1"/>
          <p:nvPr/>
        </p:nvSpPr>
        <p:spPr>
          <a:xfrm>
            <a:off x="3279450" y="2603303"/>
            <a:ext cx="117852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ime after MCAO (d)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A7DF792-B12D-73A7-4D35-9DE2E0E44BDE}"/>
              </a:ext>
            </a:extLst>
          </p:cNvPr>
          <p:cNvSpPr txBox="1"/>
          <p:nvPr/>
        </p:nvSpPr>
        <p:spPr>
          <a:xfrm>
            <a:off x="3284062" y="2440201"/>
            <a:ext cx="1639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A0DAABE3-6369-CD5E-FDF6-0D120666DE23}"/>
              </a:ext>
            </a:extLst>
          </p:cNvPr>
          <p:cNvSpPr txBox="1"/>
          <p:nvPr/>
        </p:nvSpPr>
        <p:spPr>
          <a:xfrm>
            <a:off x="3621006" y="2440201"/>
            <a:ext cx="3398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4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7A642A5-AB8F-0466-6061-A5F0ECBD103C}"/>
              </a:ext>
            </a:extLst>
          </p:cNvPr>
          <p:cNvSpPr txBox="1"/>
          <p:nvPr/>
        </p:nvSpPr>
        <p:spPr>
          <a:xfrm>
            <a:off x="4040666" y="2440201"/>
            <a:ext cx="34835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1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C42C2EE-E268-0CF3-4ADF-7BC6BF9D94E5}"/>
              </a:ext>
            </a:extLst>
          </p:cNvPr>
          <p:cNvSpPr txBox="1"/>
          <p:nvPr/>
        </p:nvSpPr>
        <p:spPr>
          <a:xfrm>
            <a:off x="4451928" y="2440201"/>
            <a:ext cx="35034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8</a:t>
            </a:r>
          </a:p>
        </p:txBody>
      </p:sp>
      <p:graphicFrame>
        <p:nvGraphicFramePr>
          <p:cNvPr id="50" name="Object 49">
            <a:extLst>
              <a:ext uri="{FF2B5EF4-FFF2-40B4-BE49-F238E27FC236}">
                <a16:creationId xmlns:a16="http://schemas.microsoft.com/office/drawing/2014/main" id="{97109361-840F-60B4-78D1-45D88F736E7D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701601" y="2774857"/>
          <a:ext cx="2499687" cy="14538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rism 9" r:id="rId7" imgW="9600138" imgH="5177838" progId="Prism9.Document">
                  <p:embed/>
                </p:oleObj>
              </mc:Choice>
              <mc:Fallback>
                <p:oleObj name="Prism 9" r:id="rId7" imgW="9600138" imgH="5177838" progId="Prism9.Document">
                  <p:embed/>
                  <p:pic>
                    <p:nvPicPr>
                      <p:cNvPr id="50" name="Object 49">
                        <a:extLst>
                          <a:ext uri="{FF2B5EF4-FFF2-40B4-BE49-F238E27FC236}">
                            <a16:creationId xmlns:a16="http://schemas.microsoft.com/office/drawing/2014/main" id="{97109361-840F-60B4-78D1-45D88F736E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701601" y="2774857"/>
                        <a:ext cx="2499687" cy="14538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9" name="Object 58">
            <a:extLst>
              <a:ext uri="{FF2B5EF4-FFF2-40B4-BE49-F238E27FC236}">
                <a16:creationId xmlns:a16="http://schemas.microsoft.com/office/drawing/2014/main" id="{1CF3C0A0-25DA-A7AB-9C69-D27AC46F04E2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037730" y="1108358"/>
          <a:ext cx="2367282" cy="16459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rism 9" r:id="rId9" imgW="9546838" imgH="6633677" progId="Prism9.Document">
                  <p:embed/>
                </p:oleObj>
              </mc:Choice>
              <mc:Fallback>
                <p:oleObj name="Prism 9" r:id="rId9" imgW="9546838" imgH="6633677" progId="Prism9.Document">
                  <p:embed/>
                  <p:pic>
                    <p:nvPicPr>
                      <p:cNvPr id="59" name="Object 58">
                        <a:extLst>
                          <a:ext uri="{FF2B5EF4-FFF2-40B4-BE49-F238E27FC236}">
                            <a16:creationId xmlns:a16="http://schemas.microsoft.com/office/drawing/2014/main" id="{1CF3C0A0-25DA-A7AB-9C69-D27AC46F04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6037730" y="1108358"/>
                        <a:ext cx="2367282" cy="16459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" name="Picture 60" descr="Background pattern&#10;&#10;Description automatically generated">
            <a:extLst>
              <a:ext uri="{FF2B5EF4-FFF2-40B4-BE49-F238E27FC236}">
                <a16:creationId xmlns:a16="http://schemas.microsoft.com/office/drawing/2014/main" id="{38DAF33F-A509-CC03-E80C-B9716FE1B538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87187" y="3174408"/>
            <a:ext cx="2545625" cy="1114334"/>
          </a:xfrm>
          <a:prstGeom prst="rect">
            <a:avLst/>
          </a:prstGeom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0B098936-B50D-98D9-4E87-1F5CD3642B32}"/>
              </a:ext>
            </a:extLst>
          </p:cNvPr>
          <p:cNvSpPr txBox="1"/>
          <p:nvPr/>
        </p:nvSpPr>
        <p:spPr>
          <a:xfrm>
            <a:off x="5987187" y="2891246"/>
            <a:ext cx="6908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Vehicle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697A150B-C9D1-752A-80F0-18EA06E27920}"/>
              </a:ext>
            </a:extLst>
          </p:cNvPr>
          <p:cNvSpPr txBox="1"/>
          <p:nvPr/>
        </p:nvSpPr>
        <p:spPr>
          <a:xfrm>
            <a:off x="6828419" y="2891246"/>
            <a:ext cx="77700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1 mg/kg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3A43B248-A602-E7EC-DFB4-DE7A41487F5A}"/>
              </a:ext>
            </a:extLst>
          </p:cNvPr>
          <p:cNvSpPr txBox="1"/>
          <p:nvPr/>
        </p:nvSpPr>
        <p:spPr>
          <a:xfrm>
            <a:off x="7711494" y="2891246"/>
            <a:ext cx="77700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3 mg/kg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42D73759-B771-5B7B-65D8-D8A41FD5317F}"/>
              </a:ext>
            </a:extLst>
          </p:cNvPr>
          <p:cNvSpPr txBox="1"/>
          <p:nvPr/>
        </p:nvSpPr>
        <p:spPr>
          <a:xfrm>
            <a:off x="6399215" y="4288742"/>
            <a:ext cx="77700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10 mg/kg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4AE6382C-CCD2-3CAA-E7BB-42E65B251BD0}"/>
              </a:ext>
            </a:extLst>
          </p:cNvPr>
          <p:cNvSpPr txBox="1"/>
          <p:nvPr/>
        </p:nvSpPr>
        <p:spPr>
          <a:xfrm>
            <a:off x="7295946" y="4288742"/>
            <a:ext cx="77700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30 mg/kg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13B2F348-4011-A993-FB24-E2C7E006418F}"/>
              </a:ext>
            </a:extLst>
          </p:cNvPr>
          <p:cNvSpPr txBox="1"/>
          <p:nvPr/>
        </p:nvSpPr>
        <p:spPr>
          <a:xfrm>
            <a:off x="2896318" y="4189967"/>
            <a:ext cx="1639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7B6F0EDF-0225-97C5-0BA3-6D9E3C835E0C}"/>
              </a:ext>
            </a:extLst>
          </p:cNvPr>
          <p:cNvSpPr txBox="1"/>
          <p:nvPr/>
        </p:nvSpPr>
        <p:spPr>
          <a:xfrm>
            <a:off x="3279450" y="4353069"/>
            <a:ext cx="117852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ime after MCAO (d)</a:t>
            </a:r>
            <a:endParaRPr lang="en-U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76BE1ACC-B6A9-0DE6-8F1E-A3F0BEC75836}"/>
              </a:ext>
            </a:extLst>
          </p:cNvPr>
          <p:cNvSpPr txBox="1"/>
          <p:nvPr/>
        </p:nvSpPr>
        <p:spPr>
          <a:xfrm>
            <a:off x="3621006" y="4189967"/>
            <a:ext cx="3398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4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39BEC514-1766-570F-2C7C-A5C402D5E2DB}"/>
              </a:ext>
            </a:extLst>
          </p:cNvPr>
          <p:cNvSpPr txBox="1"/>
          <p:nvPr/>
        </p:nvSpPr>
        <p:spPr>
          <a:xfrm>
            <a:off x="4040666" y="4189967"/>
            <a:ext cx="34835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1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C5505BB5-83D4-3346-1541-D9CF09C1348E}"/>
              </a:ext>
            </a:extLst>
          </p:cNvPr>
          <p:cNvSpPr txBox="1"/>
          <p:nvPr/>
        </p:nvSpPr>
        <p:spPr>
          <a:xfrm>
            <a:off x="4451928" y="4189967"/>
            <a:ext cx="35034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8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55C7A1AE-018E-FF20-3162-A86D12968EA5}"/>
              </a:ext>
            </a:extLst>
          </p:cNvPr>
          <p:cNvSpPr txBox="1"/>
          <p:nvPr/>
        </p:nvSpPr>
        <p:spPr>
          <a:xfrm>
            <a:off x="3284062" y="4189967"/>
            <a:ext cx="1639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B08375E-0539-EF93-4A5B-D5D14B10A576}"/>
              </a:ext>
            </a:extLst>
          </p:cNvPr>
          <p:cNvSpPr/>
          <p:nvPr/>
        </p:nvSpPr>
        <p:spPr>
          <a:xfrm>
            <a:off x="392076" y="889907"/>
            <a:ext cx="1990850" cy="38456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7EE3EE09-7D51-4E12-A56D-0A0582BD456B}"/>
              </a:ext>
            </a:extLst>
          </p:cNvPr>
          <p:cNvSpPr txBox="1">
            <a:spLocks/>
          </p:cNvSpPr>
          <p:nvPr/>
        </p:nvSpPr>
        <p:spPr>
          <a:xfrm>
            <a:off x="267607" y="961304"/>
            <a:ext cx="1990851" cy="3702811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1pPr>
            <a:lvl2pPr marL="457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2pPr>
            <a:lvl3pPr marL="6858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3pPr>
            <a:lvl4pPr marL="914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4pPr>
            <a:lvl5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tabLst>
                <a:tab pos="2228850" algn="ctr"/>
                <a:tab pos="4457700" algn="r"/>
              </a:tabLst>
            </a:pP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ose ranging effects of NTS-104 in experimental stroke (</a:t>
            </a:r>
            <a:r>
              <a:rPr lang="en-US" sz="14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hopp</a:t>
            </a: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Laboratory)</a:t>
            </a:r>
          </a:p>
          <a:p>
            <a:pPr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tabLst>
                <a:tab pos="2228850" algn="ctr"/>
                <a:tab pos="4457700" algn="r"/>
              </a:tabLst>
            </a:pP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tudy Design</a:t>
            </a:r>
          </a:p>
          <a:p>
            <a:pPr lvl="1">
              <a:spcBef>
                <a:spcPts val="0"/>
              </a:spcBef>
              <a:spcAft>
                <a:spcPts val="600"/>
              </a:spcAft>
              <a:buClr>
                <a:srgbClr val="04143F"/>
              </a:buClr>
              <a:buFont typeface="Arial" panose="020B0604020202020204" pitchFamily="34" charset="0"/>
              <a:buChar char="•"/>
              <a:tabLst>
                <a:tab pos="2228850" algn="ctr"/>
                <a:tab pos="4457700" algn="r"/>
              </a:tabLst>
            </a:pPr>
            <a:r>
              <a:rPr lang="en-US" sz="1400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mbolic </a:t>
            </a:r>
            <a:r>
              <a:rPr lang="en-US" sz="1400" dirty="0" err="1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CAo</a:t>
            </a:r>
            <a:r>
              <a:rPr lang="en-US" sz="1400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model</a:t>
            </a:r>
          </a:p>
          <a:p>
            <a:pPr lvl="1">
              <a:spcBef>
                <a:spcPts val="0"/>
              </a:spcBef>
              <a:spcAft>
                <a:spcPts val="600"/>
              </a:spcAft>
              <a:buClr>
                <a:srgbClr val="04143F"/>
              </a:buClr>
              <a:buFont typeface="Arial" panose="020B0604020202020204" pitchFamily="34" charset="0"/>
              <a:buChar char="•"/>
              <a:tabLst>
                <a:tab pos="2228850" algn="ctr"/>
                <a:tab pos="4457700" algn="r"/>
              </a:tabLst>
            </a:pPr>
            <a:r>
              <a:rPr lang="en-US" sz="1400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TS-104 dosed at 1, 3, 10, and 30 mg/kg </a:t>
            </a:r>
          </a:p>
          <a:p>
            <a:pPr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</a:pP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osing schedule: 4, 10, 24, 48, doses halved at 72, and again 96 h</a:t>
            </a:r>
          </a:p>
          <a:p>
            <a:pPr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tabLst>
                <a:tab pos="2228850" algn="ctr"/>
                <a:tab pos="4457700" algn="r"/>
              </a:tabLst>
            </a:pP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5 rats per group</a:t>
            </a:r>
          </a:p>
        </p:txBody>
      </p: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5A51B15E-288E-ACF3-C8F9-41C717478500}"/>
              </a:ext>
            </a:extLst>
          </p:cNvPr>
          <p:cNvCxnSpPr>
            <a:stCxn id="86" idx="4"/>
            <a:endCxn id="89" idx="0"/>
          </p:cNvCxnSpPr>
          <p:nvPr/>
        </p:nvCxnSpPr>
        <p:spPr>
          <a:xfrm>
            <a:off x="395558" y="1189114"/>
            <a:ext cx="0" cy="320971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Oval 86">
            <a:extLst>
              <a:ext uri="{FF2B5EF4-FFF2-40B4-BE49-F238E27FC236}">
                <a16:creationId xmlns:a16="http://schemas.microsoft.com/office/drawing/2014/main" id="{B170E507-26CE-EBC3-D516-3789DB68AE0A}"/>
              </a:ext>
            </a:extLst>
          </p:cNvPr>
          <p:cNvSpPr/>
          <p:nvPr/>
        </p:nvSpPr>
        <p:spPr>
          <a:xfrm>
            <a:off x="314803" y="1971618"/>
            <a:ext cx="161510" cy="161512"/>
          </a:xfrm>
          <a:prstGeom prst="ellipse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28575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t"/>
          <a:lstStyle/>
          <a:p>
            <a:endParaRPr lang="en-US" sz="1200" b="1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71E75998-6BC8-EEED-8B7B-8AEE813013FE}"/>
              </a:ext>
            </a:extLst>
          </p:cNvPr>
          <p:cNvSpPr/>
          <p:nvPr/>
        </p:nvSpPr>
        <p:spPr>
          <a:xfrm>
            <a:off x="314803" y="3475760"/>
            <a:ext cx="161510" cy="161512"/>
          </a:xfrm>
          <a:prstGeom prst="ellipse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28575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t"/>
          <a:lstStyle/>
          <a:p>
            <a:endParaRPr lang="en-US" sz="1200" b="1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4C461ED9-7B29-44C2-4AAA-CE36A718385E}"/>
              </a:ext>
            </a:extLst>
          </p:cNvPr>
          <p:cNvSpPr/>
          <p:nvPr/>
        </p:nvSpPr>
        <p:spPr>
          <a:xfrm>
            <a:off x="314803" y="1027602"/>
            <a:ext cx="161510" cy="161512"/>
          </a:xfrm>
          <a:prstGeom prst="ellipse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28575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t"/>
          <a:lstStyle/>
          <a:p>
            <a:endParaRPr lang="en-US" sz="1200" b="1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C1A45CFD-E6A7-2DF4-EBCA-7A8741AC1331}"/>
              </a:ext>
            </a:extLst>
          </p:cNvPr>
          <p:cNvSpPr/>
          <p:nvPr/>
        </p:nvSpPr>
        <p:spPr>
          <a:xfrm>
            <a:off x="314803" y="4398827"/>
            <a:ext cx="161510" cy="161512"/>
          </a:xfrm>
          <a:prstGeom prst="ellipse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28575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t"/>
          <a:lstStyle/>
          <a:p>
            <a:endParaRPr lang="en-US" sz="1200" b="1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DBE12D9-9E50-5E42-D4EC-C5EFA51261FF}"/>
              </a:ext>
            </a:extLst>
          </p:cNvPr>
          <p:cNvSpPr txBox="1"/>
          <p:nvPr/>
        </p:nvSpPr>
        <p:spPr>
          <a:xfrm>
            <a:off x="4272280" y="1139020"/>
            <a:ext cx="4927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err="1">
                <a:latin typeface="Calibri" panose="020F0502020204030204" pitchFamily="34" charset="0"/>
                <a:cs typeface="Calibri" panose="020F0502020204030204" pitchFamily="34" charset="0"/>
              </a:rPr>
              <a:t>mNSS</a:t>
            </a:r>
            <a:endParaRPr lang="en-US" sz="1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1C314DC-231F-C1E9-0B7F-1DECE234A55C}"/>
              </a:ext>
            </a:extLst>
          </p:cNvPr>
          <p:cNvSpPr txBox="1"/>
          <p:nvPr/>
        </p:nvSpPr>
        <p:spPr>
          <a:xfrm>
            <a:off x="4272280" y="2901614"/>
            <a:ext cx="4927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ATR</a:t>
            </a:r>
          </a:p>
        </p:txBody>
      </p:sp>
    </p:spTree>
    <p:extLst>
      <p:ext uri="{BB962C8B-B14F-4D97-AF65-F5344CB8AC3E}">
        <p14:creationId xmlns:p14="http://schemas.microsoft.com/office/powerpoint/2010/main" val="11735957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3116985C-4F67-A412-3A17-7909BF252C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3116985C-4F67-A412-3A17-7909BF252C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D04E2ABF-0FEA-4366-95BF-4F19404336FC}"/>
              </a:ext>
            </a:extLst>
          </p:cNvPr>
          <p:cNvGraphicFramePr>
            <a:graphicFrameLocks/>
          </p:cNvGraphicFramePr>
          <p:nvPr/>
        </p:nvGraphicFramePr>
        <p:xfrm>
          <a:off x="4748594" y="1504516"/>
          <a:ext cx="4123944" cy="24638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32E0E2C5-6F90-41CB-9CA8-FA3001FD83F3}"/>
              </a:ext>
            </a:extLst>
          </p:cNvPr>
          <p:cNvGraphicFramePr>
            <a:graphicFrameLocks/>
          </p:cNvGraphicFramePr>
          <p:nvPr/>
        </p:nvGraphicFramePr>
        <p:xfrm>
          <a:off x="285751" y="1504266"/>
          <a:ext cx="4124654" cy="24608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7944ADA0-1F3A-44B0-B3B0-902185BE7D7B}"/>
              </a:ext>
            </a:extLst>
          </p:cNvPr>
          <p:cNvSpPr txBox="1"/>
          <p:nvPr/>
        </p:nvSpPr>
        <p:spPr>
          <a:xfrm>
            <a:off x="1825135" y="3099953"/>
            <a:ext cx="4026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***</a:t>
            </a:r>
          </a:p>
        </p:txBody>
      </p:sp>
      <p:pic>
        <p:nvPicPr>
          <p:cNvPr id="12" name="Picture 6" descr="University at Buffalo - SUNY">
            <a:extLst>
              <a:ext uri="{FF2B5EF4-FFF2-40B4-BE49-F238E27FC236}">
                <a16:creationId xmlns:a16="http://schemas.microsoft.com/office/drawing/2014/main" id="{DB31F00F-1D73-4859-8455-3B53A7FEAD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85751" y="3589916"/>
            <a:ext cx="916516" cy="4661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4F536E95-5713-FB66-C55A-63AC2A3D6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607" y="17968"/>
            <a:ext cx="8604931" cy="738664"/>
          </a:xfrm>
        </p:spPr>
        <p:txBody>
          <a:bodyPr vert="horz"/>
          <a:lstStyle/>
          <a:p>
            <a:r>
              <a:rPr lang="en-US" dirty="0"/>
              <a:t>NTS-104 Treatment Dose-Dependently Reduces Circulating And Cortical IL-6 Acutely Following Ischemic Strok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50BB545-CE95-B0D7-7E5F-307C41FADD19}"/>
              </a:ext>
            </a:extLst>
          </p:cNvPr>
          <p:cNvSpPr txBox="1"/>
          <p:nvPr/>
        </p:nvSpPr>
        <p:spPr>
          <a:xfrm>
            <a:off x="267607" y="934249"/>
            <a:ext cx="4140000" cy="288000"/>
          </a:xfrm>
          <a:prstGeom prst="rect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1500" b="1">
                <a:solidFill>
                  <a:schemeClr val="l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IL-6 concentration in plasma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8F24D87-9F1F-9EB6-82AA-D2023464A66B}"/>
              </a:ext>
            </a:extLst>
          </p:cNvPr>
          <p:cNvSpPr txBox="1"/>
          <p:nvPr/>
        </p:nvSpPr>
        <p:spPr>
          <a:xfrm>
            <a:off x="4732538" y="934249"/>
            <a:ext cx="4140000" cy="288000"/>
          </a:xfrm>
          <a:prstGeom prst="rect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1500" b="1">
                <a:solidFill>
                  <a:schemeClr val="l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IL-6 concentration in cerebral cortex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FA0F706-784F-88C6-544C-750A5190BB98}"/>
              </a:ext>
            </a:extLst>
          </p:cNvPr>
          <p:cNvSpPr/>
          <p:nvPr/>
        </p:nvSpPr>
        <p:spPr>
          <a:xfrm>
            <a:off x="267606" y="4055533"/>
            <a:ext cx="8604000" cy="357357"/>
          </a:xfrm>
          <a:prstGeom prst="rect">
            <a:avLst/>
          </a:prstGeom>
          <a:noFill/>
          <a:ln w="12700">
            <a:solidFill>
              <a:srgbClr val="DF623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ulates a host of proinflammatory cytokines as well as complement protein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C29B92A-DD5D-BE68-ED16-C9AC40F557C7}"/>
              </a:ext>
            </a:extLst>
          </p:cNvPr>
          <p:cNvSpPr txBox="1"/>
          <p:nvPr/>
        </p:nvSpPr>
        <p:spPr>
          <a:xfrm>
            <a:off x="267607" y="4503305"/>
            <a:ext cx="8608106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8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 = 5/group; Dosing at 6 h after initiation of ischemia</a:t>
            </a:r>
          </a:p>
          <a:p>
            <a:r>
              <a:rPr lang="en-US" sz="8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. p &lt; 0.01 vs. vehicle; 3. p &lt; 0.001 vs vehicl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4DF313DD-32F0-1263-21F7-8F36BEDB9F4D}"/>
              </a:ext>
            </a:extLst>
          </p:cNvPr>
          <p:cNvGrpSpPr/>
          <p:nvPr/>
        </p:nvGrpSpPr>
        <p:grpSpPr>
          <a:xfrm>
            <a:off x="3283404" y="1278034"/>
            <a:ext cx="2573336" cy="287338"/>
            <a:chOff x="2928145" y="1269567"/>
            <a:chExt cx="2573336" cy="287338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EC20FBEF-A3E0-932E-8675-5A828403043C}"/>
                </a:ext>
              </a:extLst>
            </p:cNvPr>
            <p:cNvGrpSpPr/>
            <p:nvPr/>
          </p:nvGrpSpPr>
          <p:grpSpPr>
            <a:xfrm>
              <a:off x="2928145" y="1269567"/>
              <a:ext cx="766762" cy="260350"/>
              <a:chOff x="5688013" y="2166938"/>
              <a:chExt cx="766762" cy="260350"/>
            </a:xfrm>
          </p:grpSpPr>
          <p:sp>
            <p:nvSpPr>
              <p:cNvPr id="25" name="Rectangle 34">
                <a:extLst>
                  <a:ext uri="{FF2B5EF4-FFF2-40B4-BE49-F238E27FC236}">
                    <a16:creationId xmlns:a16="http://schemas.microsoft.com/office/drawing/2014/main" id="{2A20A726-7AE3-4DCD-6367-106EAE2C49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8013" y="2232025"/>
                <a:ext cx="95250" cy="101600"/>
              </a:xfrm>
              <a:prstGeom prst="rect">
                <a:avLst/>
              </a:prstGeom>
              <a:solidFill>
                <a:srgbClr val="4285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5">
                <a:extLst>
                  <a:ext uri="{FF2B5EF4-FFF2-40B4-BE49-F238E27FC236}">
                    <a16:creationId xmlns:a16="http://schemas.microsoft.com/office/drawing/2014/main" id="{27550134-0CA5-0180-0776-CF4CBF087D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32475" y="2166938"/>
                <a:ext cx="622300" cy="2603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anose="020F0502020204030204" pitchFamily="34" charset="0"/>
                  </a:rPr>
                  <a:t>Vehicl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373C8FE3-5545-0ECD-2C6C-5E42CB87CA2A}"/>
                </a:ext>
              </a:extLst>
            </p:cNvPr>
            <p:cNvGrpSpPr/>
            <p:nvPr/>
          </p:nvGrpSpPr>
          <p:grpSpPr>
            <a:xfrm>
              <a:off x="3694907" y="1269567"/>
              <a:ext cx="830262" cy="260350"/>
              <a:chOff x="5688013" y="2459038"/>
              <a:chExt cx="830262" cy="260350"/>
            </a:xfrm>
          </p:grpSpPr>
          <p:sp>
            <p:nvSpPr>
              <p:cNvPr id="28" name="Rectangle 36">
                <a:extLst>
                  <a:ext uri="{FF2B5EF4-FFF2-40B4-BE49-F238E27FC236}">
                    <a16:creationId xmlns:a16="http://schemas.microsoft.com/office/drawing/2014/main" id="{D9868521-362F-1BA2-8080-6F143F687D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8013" y="2524125"/>
                <a:ext cx="95250" cy="95250"/>
              </a:xfrm>
              <a:prstGeom prst="rect">
                <a:avLst/>
              </a:prstGeom>
              <a:solidFill>
                <a:srgbClr val="2121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37">
                <a:extLst>
                  <a:ext uri="{FF2B5EF4-FFF2-40B4-BE49-F238E27FC236}">
                    <a16:creationId xmlns:a16="http://schemas.microsoft.com/office/drawing/2014/main" id="{8136AF8B-7F10-1B07-DA96-3AEA7EF010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32475" y="2459038"/>
                <a:ext cx="685800" cy="2603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400" b="0" i="0" u="none" strike="noStrike" cap="none" normalizeH="0" baseline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anose="020F0502020204030204" pitchFamily="34" charset="0"/>
                  </a:rPr>
                  <a:t>5 mg/kg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8586022C-CD47-9F33-CDBE-8B53567D9212}"/>
                </a:ext>
              </a:extLst>
            </p:cNvPr>
            <p:cNvGrpSpPr/>
            <p:nvPr/>
          </p:nvGrpSpPr>
          <p:grpSpPr>
            <a:xfrm>
              <a:off x="4525169" y="1269567"/>
              <a:ext cx="976312" cy="287338"/>
              <a:chOff x="5688013" y="2747963"/>
              <a:chExt cx="976312" cy="287338"/>
            </a:xfrm>
          </p:grpSpPr>
          <p:sp>
            <p:nvSpPr>
              <p:cNvPr id="31" name="Rectangle 38">
                <a:extLst>
                  <a:ext uri="{FF2B5EF4-FFF2-40B4-BE49-F238E27FC236}">
                    <a16:creationId xmlns:a16="http://schemas.microsoft.com/office/drawing/2014/main" id="{C947BF31-1274-42B6-F8B5-5A09C757C38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8013" y="2817813"/>
                <a:ext cx="95250" cy="95250"/>
              </a:xfrm>
              <a:prstGeom prst="rect">
                <a:avLst/>
              </a:prstGeom>
              <a:solidFill>
                <a:srgbClr val="7890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39">
                <a:extLst>
                  <a:ext uri="{FF2B5EF4-FFF2-40B4-BE49-F238E27FC236}">
                    <a16:creationId xmlns:a16="http://schemas.microsoft.com/office/drawing/2014/main" id="{7BA9DC01-92A7-1DCE-EB84-34F8C1AB98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32475" y="2747963"/>
                <a:ext cx="831850" cy="2873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4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anose="020F0502020204030204" pitchFamily="34" charset="0"/>
                  </a:rPr>
                  <a:t>20 mg/kg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</p:grp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AE619212-F359-FFA6-2BEC-D35F6C23F2D0}"/>
              </a:ext>
            </a:extLst>
          </p:cNvPr>
          <p:cNvSpPr txBox="1"/>
          <p:nvPr/>
        </p:nvSpPr>
        <p:spPr>
          <a:xfrm>
            <a:off x="2828587" y="2743157"/>
            <a:ext cx="4298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**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23B2DED-98CE-D909-AC0F-3E074A8AA795}"/>
              </a:ext>
            </a:extLst>
          </p:cNvPr>
          <p:cNvSpPr txBox="1"/>
          <p:nvPr/>
        </p:nvSpPr>
        <p:spPr>
          <a:xfrm>
            <a:off x="6341794" y="3087440"/>
            <a:ext cx="331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**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5BEF5AB-825F-5F5D-A85A-E13BF7E8FF8A}"/>
              </a:ext>
            </a:extLst>
          </p:cNvPr>
          <p:cNvSpPr txBox="1"/>
          <p:nvPr/>
        </p:nvSpPr>
        <p:spPr>
          <a:xfrm>
            <a:off x="7336628" y="2858282"/>
            <a:ext cx="3316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**</a:t>
            </a:r>
          </a:p>
        </p:txBody>
      </p:sp>
    </p:spTree>
    <p:extLst>
      <p:ext uri="{BB962C8B-B14F-4D97-AF65-F5344CB8AC3E}">
        <p14:creationId xmlns:p14="http://schemas.microsoft.com/office/powerpoint/2010/main" val="41986831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51B4F7E-F9D7-5044-B58B-922FC686D7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51B4F7E-F9D7-5044-B58B-922FC686D7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CC85A16-867A-B546-13C5-693F2ED64F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607" y="202634"/>
            <a:ext cx="8604931" cy="369332"/>
          </a:xfrm>
        </p:spPr>
        <p:txBody>
          <a:bodyPr vert="horz"/>
          <a:lstStyle/>
          <a:p>
            <a:r>
              <a:rPr lang="en-US" dirty="0"/>
              <a:t>Conclusions/Future Objectiv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264007C-5704-61BD-4E88-F9494F07E64A}"/>
              </a:ext>
            </a:extLst>
          </p:cNvPr>
          <p:cNvSpPr txBox="1"/>
          <p:nvPr/>
        </p:nvSpPr>
        <p:spPr>
          <a:xfrm>
            <a:off x="2424148" y="1790290"/>
            <a:ext cx="1944000" cy="7920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NTS-105 is a novel, potent </a:t>
            </a:r>
            <a:r>
              <a:rPr kumimoji="0" lang="en-US" sz="1300" b="0" i="0" u="none" strike="noStrike" kern="0" cap="none" spc="0" normalizeH="0" baseline="0" noProof="0" dirty="0" err="1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neurosteroid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that crosses the BBB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15416B6-A5E5-3675-C9D5-B62F3ED992E9}"/>
              </a:ext>
            </a:extLst>
          </p:cNvPr>
          <p:cNvSpPr txBox="1"/>
          <p:nvPr/>
        </p:nvSpPr>
        <p:spPr>
          <a:xfrm>
            <a:off x="4580689" y="1790290"/>
            <a:ext cx="1944000" cy="7920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NTS-105 has nanomolar affinity for PR nuclear hormone receptor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BE70AA7-93A7-C03F-DB00-A0C6E639B82A}"/>
              </a:ext>
            </a:extLst>
          </p:cNvPr>
          <p:cNvSpPr txBox="1"/>
          <p:nvPr/>
        </p:nvSpPr>
        <p:spPr>
          <a:xfrm>
            <a:off x="6737230" y="1790290"/>
            <a:ext cx="2135308" cy="7920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Administration of NTS-104 following ischemic stroke or TBI in rats improves functional outcomes and lesion volum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57A34B-7C61-5BF8-BC5F-46642A26371F}"/>
              </a:ext>
            </a:extLst>
          </p:cNvPr>
          <p:cNvSpPr txBox="1"/>
          <p:nvPr/>
        </p:nvSpPr>
        <p:spPr>
          <a:xfrm>
            <a:off x="267607" y="1790290"/>
            <a:ext cx="1944000" cy="7920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NTS-104 is a novel water-soluble prodrug that converts rapidly to </a:t>
            </a:r>
            <a:b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</a:b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NTS-105 in plasma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2173A04-E1A6-E49E-43AF-131F8D3DA3E3}"/>
              </a:ext>
            </a:extLst>
          </p:cNvPr>
          <p:cNvCxnSpPr>
            <a:stCxn id="19" idx="0"/>
          </p:cNvCxnSpPr>
          <p:nvPr/>
        </p:nvCxnSpPr>
        <p:spPr bwMode="auto">
          <a:xfrm rot="5400000" flipH="1" flipV="1">
            <a:off x="1140194" y="1451723"/>
            <a:ext cx="199206" cy="38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" name="Google Shape;547;p3">
            <a:extLst>
              <a:ext uri="{FF2B5EF4-FFF2-40B4-BE49-F238E27FC236}">
                <a16:creationId xmlns:a16="http://schemas.microsoft.com/office/drawing/2014/main" id="{6E67E535-9321-F9F1-A426-F95369054AD3}"/>
              </a:ext>
            </a:extLst>
          </p:cNvPr>
          <p:cNvSpPr/>
          <p:nvPr/>
        </p:nvSpPr>
        <p:spPr>
          <a:xfrm rot="16200000" flipH="1">
            <a:off x="1085175" y="712224"/>
            <a:ext cx="308864" cy="611834"/>
          </a:xfrm>
          <a:custGeom>
            <a:avLst/>
            <a:gdLst/>
            <a:ahLst/>
            <a:cxnLst/>
            <a:rect l="l" t="t" r="r" b="b"/>
            <a:pathLst>
              <a:path w="548958" h="1087438" extrusionOk="0">
                <a:moveTo>
                  <a:pt x="543719" y="0"/>
                </a:moveTo>
                <a:lnTo>
                  <a:pt x="548958" y="528"/>
                </a:lnTo>
                <a:lnTo>
                  <a:pt x="548958" y="1086910"/>
                </a:lnTo>
                <a:lnTo>
                  <a:pt x="543719" y="1087438"/>
                </a:lnTo>
                <a:cubicBezTo>
                  <a:pt x="243431" y="1087438"/>
                  <a:pt x="0" y="844007"/>
                  <a:pt x="0" y="543719"/>
                </a:cubicBezTo>
                <a:cubicBezTo>
                  <a:pt x="0" y="243431"/>
                  <a:pt x="243431" y="0"/>
                  <a:pt x="543719" y="0"/>
                </a:cubicBezTo>
                <a:close/>
              </a:path>
            </a:pathLst>
          </a:custGeom>
          <a:solidFill>
            <a:srgbClr val="00206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378">
              <a:buSzPts val="1800"/>
              <a:defRPr/>
            </a:pPr>
            <a:endParaRPr sz="1300" b="1" dirty="0">
              <a:solidFill>
                <a:srgbClr val="FFFFFF"/>
              </a:solidFill>
              <a:latin typeface="Calibri" panose="020F0502020204030204" pitchFamily="34" charset="0"/>
              <a:ea typeface="Roboto Light" panose="02000000000000000000" pitchFamily="2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18" name="Google Shape;548;p3">
            <a:extLst>
              <a:ext uri="{FF2B5EF4-FFF2-40B4-BE49-F238E27FC236}">
                <a16:creationId xmlns:a16="http://schemas.microsoft.com/office/drawing/2014/main" id="{7066225D-8251-070F-8BD1-54B475880CD0}"/>
              </a:ext>
            </a:extLst>
          </p:cNvPr>
          <p:cNvSpPr/>
          <p:nvPr/>
        </p:nvSpPr>
        <p:spPr>
          <a:xfrm rot="16200000" flipH="1">
            <a:off x="1003229" y="933504"/>
            <a:ext cx="472758" cy="472905"/>
          </a:xfrm>
          <a:prstGeom prst="ellipse">
            <a:avLst/>
          </a:prstGeom>
          <a:solidFill>
            <a:srgbClr val="FFFFFF"/>
          </a:soli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 defTabSz="914378">
              <a:buSzPts val="3600"/>
              <a:defRPr/>
            </a:pPr>
            <a:endParaRPr sz="1300" b="1" dirty="0">
              <a:solidFill>
                <a:srgbClr val="DB0007"/>
              </a:solidFill>
              <a:latin typeface="Calibri" panose="020F0502020204030204" pitchFamily="34" charset="0"/>
              <a:ea typeface="Roboto Light" panose="02000000000000000000" pitchFamily="2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E1F8DF6-8F3A-5211-26CD-D5255FC7F93B}"/>
              </a:ext>
            </a:extLst>
          </p:cNvPr>
          <p:cNvSpPr/>
          <p:nvPr/>
        </p:nvSpPr>
        <p:spPr bwMode="auto">
          <a:xfrm>
            <a:off x="1180703" y="1551517"/>
            <a:ext cx="117808" cy="117809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defTabSz="914378">
              <a:defRPr/>
            </a:pPr>
            <a:endParaRPr lang="en-US" sz="1300" dirty="0">
              <a:solidFill>
                <a:srgbClr val="FFFFFF"/>
              </a:solidFill>
              <a:latin typeface="Calibri" panose="020F0502020204030204" pitchFamily="34" charset="0"/>
              <a:ea typeface="ＭＳ Ｐゴシック" pitchFamily="-76" charset="-128"/>
              <a:cs typeface="Calibri" panose="020F0502020204030204" pitchFamily="34" charset="0"/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C74E9A0-524A-1C61-D0D0-EDCA7917177C}"/>
              </a:ext>
            </a:extLst>
          </p:cNvPr>
          <p:cNvCxnSpPr>
            <a:stCxn id="39" idx="0"/>
          </p:cNvCxnSpPr>
          <p:nvPr/>
        </p:nvCxnSpPr>
        <p:spPr bwMode="auto">
          <a:xfrm rot="5400000" flipH="1" flipV="1">
            <a:off x="3296735" y="1451723"/>
            <a:ext cx="199206" cy="38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7" name="Google Shape;547;p3">
            <a:extLst>
              <a:ext uri="{FF2B5EF4-FFF2-40B4-BE49-F238E27FC236}">
                <a16:creationId xmlns:a16="http://schemas.microsoft.com/office/drawing/2014/main" id="{A8E1D827-DCD7-CFD6-01E8-73873363BBDC}"/>
              </a:ext>
            </a:extLst>
          </p:cNvPr>
          <p:cNvSpPr/>
          <p:nvPr/>
        </p:nvSpPr>
        <p:spPr>
          <a:xfrm rot="16200000" flipH="1">
            <a:off x="3241716" y="712224"/>
            <a:ext cx="308864" cy="611834"/>
          </a:xfrm>
          <a:custGeom>
            <a:avLst/>
            <a:gdLst/>
            <a:ahLst/>
            <a:cxnLst/>
            <a:rect l="l" t="t" r="r" b="b"/>
            <a:pathLst>
              <a:path w="548958" h="1087438" extrusionOk="0">
                <a:moveTo>
                  <a:pt x="543719" y="0"/>
                </a:moveTo>
                <a:lnTo>
                  <a:pt x="548958" y="528"/>
                </a:lnTo>
                <a:lnTo>
                  <a:pt x="548958" y="1086910"/>
                </a:lnTo>
                <a:lnTo>
                  <a:pt x="543719" y="1087438"/>
                </a:lnTo>
                <a:cubicBezTo>
                  <a:pt x="243431" y="1087438"/>
                  <a:pt x="0" y="844007"/>
                  <a:pt x="0" y="543719"/>
                </a:cubicBezTo>
                <a:cubicBezTo>
                  <a:pt x="0" y="243431"/>
                  <a:pt x="243431" y="0"/>
                  <a:pt x="543719" y="0"/>
                </a:cubicBezTo>
                <a:close/>
              </a:path>
            </a:pathLst>
          </a:custGeom>
          <a:solidFill>
            <a:srgbClr val="4285F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378">
              <a:buSzPts val="1800"/>
              <a:defRPr/>
            </a:pPr>
            <a:endParaRPr sz="1300" b="1" dirty="0">
              <a:solidFill>
                <a:srgbClr val="FFFFFF"/>
              </a:solidFill>
              <a:latin typeface="Calibri" panose="020F0502020204030204" pitchFamily="34" charset="0"/>
              <a:ea typeface="Roboto Light" panose="02000000000000000000" pitchFamily="2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38" name="Google Shape;548;p3">
            <a:extLst>
              <a:ext uri="{FF2B5EF4-FFF2-40B4-BE49-F238E27FC236}">
                <a16:creationId xmlns:a16="http://schemas.microsoft.com/office/drawing/2014/main" id="{2343A854-631A-9321-40FF-7A3A599EF55B}"/>
              </a:ext>
            </a:extLst>
          </p:cNvPr>
          <p:cNvSpPr/>
          <p:nvPr/>
        </p:nvSpPr>
        <p:spPr>
          <a:xfrm rot="16200000" flipH="1">
            <a:off x="3159770" y="933504"/>
            <a:ext cx="472758" cy="472905"/>
          </a:xfrm>
          <a:prstGeom prst="ellipse">
            <a:avLst/>
          </a:prstGeom>
          <a:solidFill>
            <a:srgbClr val="FFFFFF"/>
          </a:soli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 defTabSz="914378">
              <a:buSzPts val="3600"/>
              <a:defRPr/>
            </a:pPr>
            <a:endParaRPr sz="1300" b="1" dirty="0">
              <a:solidFill>
                <a:srgbClr val="DB0007"/>
              </a:solidFill>
              <a:latin typeface="Calibri" panose="020F0502020204030204" pitchFamily="34" charset="0"/>
              <a:ea typeface="Roboto Light" panose="02000000000000000000" pitchFamily="2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ADAD3EF1-1F00-D724-BDF7-B1197F803850}"/>
              </a:ext>
            </a:extLst>
          </p:cNvPr>
          <p:cNvSpPr/>
          <p:nvPr/>
        </p:nvSpPr>
        <p:spPr bwMode="auto">
          <a:xfrm>
            <a:off x="3337244" y="1551517"/>
            <a:ext cx="117808" cy="117809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rgbClr val="4285F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defTabSz="914378">
              <a:defRPr/>
            </a:pPr>
            <a:endParaRPr lang="en-US" sz="1300" dirty="0">
              <a:solidFill>
                <a:srgbClr val="FFFFFF"/>
              </a:solidFill>
              <a:latin typeface="Calibri" panose="020F0502020204030204" pitchFamily="34" charset="0"/>
              <a:ea typeface="ＭＳ Ｐゴシック" pitchFamily="-76" charset="-128"/>
              <a:cs typeface="Calibri" panose="020F0502020204030204" pitchFamily="34" charset="0"/>
            </a:endParaRP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F717D6B2-186E-9DCA-C2AB-3D54A8737127}"/>
              </a:ext>
            </a:extLst>
          </p:cNvPr>
          <p:cNvCxnSpPr>
            <a:stCxn id="59" idx="0"/>
          </p:cNvCxnSpPr>
          <p:nvPr/>
        </p:nvCxnSpPr>
        <p:spPr bwMode="auto">
          <a:xfrm rot="5400000" flipH="1" flipV="1">
            <a:off x="5453276" y="1451723"/>
            <a:ext cx="199206" cy="38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7" name="Google Shape;547;p3">
            <a:extLst>
              <a:ext uri="{FF2B5EF4-FFF2-40B4-BE49-F238E27FC236}">
                <a16:creationId xmlns:a16="http://schemas.microsoft.com/office/drawing/2014/main" id="{7FAFACEC-CC96-1929-1FEB-FF43AF93869E}"/>
              </a:ext>
            </a:extLst>
          </p:cNvPr>
          <p:cNvSpPr/>
          <p:nvPr/>
        </p:nvSpPr>
        <p:spPr>
          <a:xfrm rot="16200000" flipH="1">
            <a:off x="5398257" y="712224"/>
            <a:ext cx="308864" cy="611834"/>
          </a:xfrm>
          <a:custGeom>
            <a:avLst/>
            <a:gdLst/>
            <a:ahLst/>
            <a:cxnLst/>
            <a:rect l="l" t="t" r="r" b="b"/>
            <a:pathLst>
              <a:path w="548958" h="1087438" extrusionOk="0">
                <a:moveTo>
                  <a:pt x="543719" y="0"/>
                </a:moveTo>
                <a:lnTo>
                  <a:pt x="548958" y="528"/>
                </a:lnTo>
                <a:lnTo>
                  <a:pt x="548958" y="1086910"/>
                </a:lnTo>
                <a:lnTo>
                  <a:pt x="543719" y="1087438"/>
                </a:lnTo>
                <a:cubicBezTo>
                  <a:pt x="243431" y="1087438"/>
                  <a:pt x="0" y="844007"/>
                  <a:pt x="0" y="543719"/>
                </a:cubicBezTo>
                <a:cubicBezTo>
                  <a:pt x="0" y="243431"/>
                  <a:pt x="243431" y="0"/>
                  <a:pt x="543719" y="0"/>
                </a:cubicBezTo>
                <a:close/>
              </a:path>
            </a:pathLst>
          </a:custGeom>
          <a:solidFill>
            <a:srgbClr val="00206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378">
              <a:buSzPts val="1800"/>
              <a:defRPr/>
            </a:pPr>
            <a:endParaRPr sz="1300" b="1" dirty="0">
              <a:solidFill>
                <a:srgbClr val="FFFFFF"/>
              </a:solidFill>
              <a:latin typeface="Calibri" panose="020F0502020204030204" pitchFamily="34" charset="0"/>
              <a:ea typeface="Roboto Light" panose="02000000000000000000" pitchFamily="2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58" name="Google Shape;548;p3">
            <a:extLst>
              <a:ext uri="{FF2B5EF4-FFF2-40B4-BE49-F238E27FC236}">
                <a16:creationId xmlns:a16="http://schemas.microsoft.com/office/drawing/2014/main" id="{1D8C1B69-BC59-EB76-A89B-61F114BA3492}"/>
              </a:ext>
            </a:extLst>
          </p:cNvPr>
          <p:cNvSpPr/>
          <p:nvPr/>
        </p:nvSpPr>
        <p:spPr>
          <a:xfrm rot="16200000" flipH="1">
            <a:off x="5316311" y="933504"/>
            <a:ext cx="472758" cy="472905"/>
          </a:xfrm>
          <a:prstGeom prst="ellipse">
            <a:avLst/>
          </a:prstGeom>
          <a:solidFill>
            <a:srgbClr val="FFFFFF"/>
          </a:soli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 defTabSz="914378">
              <a:buSzPts val="3600"/>
              <a:defRPr/>
            </a:pPr>
            <a:endParaRPr sz="1300" b="1" dirty="0">
              <a:solidFill>
                <a:srgbClr val="DB0007"/>
              </a:solidFill>
              <a:latin typeface="Calibri" panose="020F0502020204030204" pitchFamily="34" charset="0"/>
              <a:ea typeface="Roboto Light" panose="02000000000000000000" pitchFamily="2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0AA5994E-8F5C-B0F7-2095-1337B276E9E1}"/>
              </a:ext>
            </a:extLst>
          </p:cNvPr>
          <p:cNvSpPr/>
          <p:nvPr/>
        </p:nvSpPr>
        <p:spPr bwMode="auto">
          <a:xfrm>
            <a:off x="5493785" y="1551517"/>
            <a:ext cx="117808" cy="117809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defTabSz="914378">
              <a:defRPr/>
            </a:pPr>
            <a:endParaRPr lang="en-US" sz="1300" dirty="0">
              <a:solidFill>
                <a:srgbClr val="FFFFFF"/>
              </a:solidFill>
              <a:latin typeface="Calibri" panose="020F0502020204030204" pitchFamily="34" charset="0"/>
              <a:ea typeface="ＭＳ Ｐゴシック" pitchFamily="-76" charset="-128"/>
              <a:cs typeface="Calibri" panose="020F0502020204030204" pitchFamily="34" charset="0"/>
            </a:endParaRPr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EDD80096-6E39-8507-8856-BBB6B95FD3EC}"/>
              </a:ext>
            </a:extLst>
          </p:cNvPr>
          <p:cNvCxnSpPr>
            <a:stCxn id="79" idx="0"/>
          </p:cNvCxnSpPr>
          <p:nvPr/>
        </p:nvCxnSpPr>
        <p:spPr bwMode="auto">
          <a:xfrm rot="5400000" flipH="1" flipV="1">
            <a:off x="7705471" y="1451723"/>
            <a:ext cx="199206" cy="38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7" name="Google Shape;547;p3">
            <a:extLst>
              <a:ext uri="{FF2B5EF4-FFF2-40B4-BE49-F238E27FC236}">
                <a16:creationId xmlns:a16="http://schemas.microsoft.com/office/drawing/2014/main" id="{D2FDF189-7513-D012-22B7-21A34497AE4E}"/>
              </a:ext>
            </a:extLst>
          </p:cNvPr>
          <p:cNvSpPr/>
          <p:nvPr/>
        </p:nvSpPr>
        <p:spPr>
          <a:xfrm rot="16200000" flipH="1">
            <a:off x="7650452" y="712224"/>
            <a:ext cx="308864" cy="611834"/>
          </a:xfrm>
          <a:custGeom>
            <a:avLst/>
            <a:gdLst/>
            <a:ahLst/>
            <a:cxnLst/>
            <a:rect l="l" t="t" r="r" b="b"/>
            <a:pathLst>
              <a:path w="548958" h="1087438" extrusionOk="0">
                <a:moveTo>
                  <a:pt x="543719" y="0"/>
                </a:moveTo>
                <a:lnTo>
                  <a:pt x="548958" y="528"/>
                </a:lnTo>
                <a:lnTo>
                  <a:pt x="548958" y="1086910"/>
                </a:lnTo>
                <a:lnTo>
                  <a:pt x="543719" y="1087438"/>
                </a:lnTo>
                <a:cubicBezTo>
                  <a:pt x="243431" y="1087438"/>
                  <a:pt x="0" y="844007"/>
                  <a:pt x="0" y="543719"/>
                </a:cubicBezTo>
                <a:cubicBezTo>
                  <a:pt x="0" y="243431"/>
                  <a:pt x="243431" y="0"/>
                  <a:pt x="543719" y="0"/>
                </a:cubicBezTo>
                <a:close/>
              </a:path>
            </a:pathLst>
          </a:custGeom>
          <a:solidFill>
            <a:srgbClr val="4285F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378">
              <a:buSzPts val="1800"/>
              <a:defRPr/>
            </a:pPr>
            <a:endParaRPr sz="1300" b="1" dirty="0">
              <a:solidFill>
                <a:srgbClr val="FFFFFF"/>
              </a:solidFill>
              <a:latin typeface="Calibri" panose="020F0502020204030204" pitchFamily="34" charset="0"/>
              <a:ea typeface="Roboto Light" panose="02000000000000000000" pitchFamily="2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78" name="Google Shape;548;p3">
            <a:extLst>
              <a:ext uri="{FF2B5EF4-FFF2-40B4-BE49-F238E27FC236}">
                <a16:creationId xmlns:a16="http://schemas.microsoft.com/office/drawing/2014/main" id="{5F2B753E-A490-B5AF-A1B6-CF1E5096D2A5}"/>
              </a:ext>
            </a:extLst>
          </p:cNvPr>
          <p:cNvSpPr/>
          <p:nvPr/>
        </p:nvSpPr>
        <p:spPr>
          <a:xfrm rot="16200000" flipH="1">
            <a:off x="7568506" y="933504"/>
            <a:ext cx="472758" cy="472905"/>
          </a:xfrm>
          <a:prstGeom prst="ellipse">
            <a:avLst/>
          </a:prstGeom>
          <a:solidFill>
            <a:srgbClr val="FFFFFF"/>
          </a:soli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 defTabSz="914378">
              <a:buSzPts val="3600"/>
              <a:defRPr/>
            </a:pPr>
            <a:endParaRPr sz="1300" b="1" dirty="0">
              <a:solidFill>
                <a:srgbClr val="DB0007"/>
              </a:solidFill>
              <a:latin typeface="Calibri" panose="020F0502020204030204" pitchFamily="34" charset="0"/>
              <a:ea typeface="Roboto Light" panose="02000000000000000000" pitchFamily="2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BE14C4E0-2A1D-DF16-ACEA-BFD9AB14DF82}"/>
              </a:ext>
            </a:extLst>
          </p:cNvPr>
          <p:cNvSpPr/>
          <p:nvPr/>
        </p:nvSpPr>
        <p:spPr bwMode="auto">
          <a:xfrm>
            <a:off x="7745980" y="1551517"/>
            <a:ext cx="117808" cy="117809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rgbClr val="4285F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defTabSz="914378">
              <a:defRPr/>
            </a:pPr>
            <a:endParaRPr lang="en-US" sz="1300" dirty="0">
              <a:solidFill>
                <a:srgbClr val="FFFFFF"/>
              </a:solidFill>
              <a:latin typeface="Calibri" panose="020F0502020204030204" pitchFamily="34" charset="0"/>
              <a:ea typeface="ＭＳ Ｐゴシック" pitchFamily="-76" charset="-128"/>
              <a:cs typeface="Calibri" panose="020F0502020204030204" pitchFamily="34" charset="0"/>
            </a:endParaRP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0C791B89-4945-B2DC-1AB9-93605EFF84B7}"/>
              </a:ext>
            </a:extLst>
          </p:cNvPr>
          <p:cNvSpPr txBox="1"/>
          <p:nvPr/>
        </p:nvSpPr>
        <p:spPr>
          <a:xfrm>
            <a:off x="267607" y="3713654"/>
            <a:ext cx="1908000" cy="98774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NTS-104 administration reduces acute inflammatory mediators and inflamed cerebrovascular endothelial cell markers</a:t>
            </a: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2ED40087-ECA5-BF90-DBC9-EA88B390C9E3}"/>
              </a:ext>
            </a:extLst>
          </p:cNvPr>
          <p:cNvSpPr txBox="1"/>
          <p:nvPr/>
        </p:nvSpPr>
        <p:spPr>
          <a:xfrm>
            <a:off x="2373840" y="3713654"/>
            <a:ext cx="1476000" cy="98774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Efficacy demonstrated in multiple independent laboratories </a:t>
            </a:r>
            <a:b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</a:b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and models</a:t>
            </a: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D0263A5E-64B9-DACD-D431-412DBB89D249}"/>
              </a:ext>
            </a:extLst>
          </p:cNvPr>
          <p:cNvSpPr txBox="1"/>
          <p:nvPr/>
        </p:nvSpPr>
        <p:spPr>
          <a:xfrm>
            <a:off x="4048073" y="3713654"/>
            <a:ext cx="1476000" cy="98774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NTS-104 is being advanced into </a:t>
            </a:r>
            <a:b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</a:b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Phase 1 clinical trials in AIS and TBI (2022)</a:t>
            </a: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F5EFE665-ABF2-4DFD-C047-C46C798B97B9}"/>
              </a:ext>
            </a:extLst>
          </p:cNvPr>
          <p:cNvSpPr txBox="1"/>
          <p:nvPr/>
        </p:nvSpPr>
        <p:spPr>
          <a:xfrm>
            <a:off x="5722306" y="3713654"/>
            <a:ext cx="1476000" cy="98774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NTS-104 has an issued composition </a:t>
            </a:r>
            <a:b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</a:b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of matter patent</a:t>
            </a:r>
          </a:p>
        </p:txBody>
      </p:sp>
      <p:cxnSp>
        <p:nvCxnSpPr>
          <p:cNvPr id="248" name="Straight Connector 247">
            <a:extLst>
              <a:ext uri="{FF2B5EF4-FFF2-40B4-BE49-F238E27FC236}">
                <a16:creationId xmlns:a16="http://schemas.microsoft.com/office/drawing/2014/main" id="{8A3A1E60-FF92-8121-09A7-DAC56E3E8C59}"/>
              </a:ext>
            </a:extLst>
          </p:cNvPr>
          <p:cNvCxnSpPr>
            <a:stCxn id="251" idx="0"/>
          </p:cNvCxnSpPr>
          <p:nvPr/>
        </p:nvCxnSpPr>
        <p:spPr bwMode="auto">
          <a:xfrm rot="5400000" flipH="1" flipV="1">
            <a:off x="1122194" y="3375088"/>
            <a:ext cx="199206" cy="38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49" name="Google Shape;547;p3">
            <a:extLst>
              <a:ext uri="{FF2B5EF4-FFF2-40B4-BE49-F238E27FC236}">
                <a16:creationId xmlns:a16="http://schemas.microsoft.com/office/drawing/2014/main" id="{EA0DA49C-BC33-3A7C-91E8-2012758DE902}"/>
              </a:ext>
            </a:extLst>
          </p:cNvPr>
          <p:cNvSpPr/>
          <p:nvPr/>
        </p:nvSpPr>
        <p:spPr>
          <a:xfrm rot="16200000" flipH="1">
            <a:off x="1067175" y="2635589"/>
            <a:ext cx="308864" cy="611834"/>
          </a:xfrm>
          <a:custGeom>
            <a:avLst/>
            <a:gdLst/>
            <a:ahLst/>
            <a:cxnLst/>
            <a:rect l="l" t="t" r="r" b="b"/>
            <a:pathLst>
              <a:path w="548958" h="1087438" extrusionOk="0">
                <a:moveTo>
                  <a:pt x="543719" y="0"/>
                </a:moveTo>
                <a:lnTo>
                  <a:pt x="548958" y="528"/>
                </a:lnTo>
                <a:lnTo>
                  <a:pt x="548958" y="1086910"/>
                </a:lnTo>
                <a:lnTo>
                  <a:pt x="543719" y="1087438"/>
                </a:lnTo>
                <a:cubicBezTo>
                  <a:pt x="243431" y="1087438"/>
                  <a:pt x="0" y="844007"/>
                  <a:pt x="0" y="543719"/>
                </a:cubicBezTo>
                <a:cubicBezTo>
                  <a:pt x="0" y="243431"/>
                  <a:pt x="243431" y="0"/>
                  <a:pt x="543719" y="0"/>
                </a:cubicBezTo>
                <a:close/>
              </a:path>
            </a:pathLst>
          </a:custGeom>
          <a:solidFill>
            <a:srgbClr val="00206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378">
              <a:buSzPts val="1800"/>
              <a:defRPr/>
            </a:pPr>
            <a:endParaRPr sz="1300" b="1" dirty="0">
              <a:solidFill>
                <a:srgbClr val="FFFFFF"/>
              </a:solidFill>
              <a:latin typeface="Calibri" panose="020F0502020204030204" pitchFamily="34" charset="0"/>
              <a:ea typeface="Roboto Light" panose="02000000000000000000" pitchFamily="2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250" name="Google Shape;548;p3">
            <a:extLst>
              <a:ext uri="{FF2B5EF4-FFF2-40B4-BE49-F238E27FC236}">
                <a16:creationId xmlns:a16="http://schemas.microsoft.com/office/drawing/2014/main" id="{77518E40-CECE-8BD2-E4D0-44A2DFE18CE9}"/>
              </a:ext>
            </a:extLst>
          </p:cNvPr>
          <p:cNvSpPr/>
          <p:nvPr/>
        </p:nvSpPr>
        <p:spPr>
          <a:xfrm rot="16200000" flipH="1">
            <a:off x="985229" y="2856869"/>
            <a:ext cx="472758" cy="472905"/>
          </a:xfrm>
          <a:prstGeom prst="ellipse">
            <a:avLst/>
          </a:prstGeom>
          <a:solidFill>
            <a:srgbClr val="FFFFFF"/>
          </a:soli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 defTabSz="914378">
              <a:buSzPts val="3600"/>
              <a:defRPr/>
            </a:pPr>
            <a:endParaRPr sz="1300" b="1" dirty="0">
              <a:solidFill>
                <a:srgbClr val="DB0007"/>
              </a:solidFill>
              <a:latin typeface="Calibri" panose="020F0502020204030204" pitchFamily="34" charset="0"/>
              <a:ea typeface="Roboto Light" panose="02000000000000000000" pitchFamily="2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251" name="Oval 250">
            <a:extLst>
              <a:ext uri="{FF2B5EF4-FFF2-40B4-BE49-F238E27FC236}">
                <a16:creationId xmlns:a16="http://schemas.microsoft.com/office/drawing/2014/main" id="{FB5F5CAE-CAA2-E2F5-B187-4AC0CA6E78D1}"/>
              </a:ext>
            </a:extLst>
          </p:cNvPr>
          <p:cNvSpPr/>
          <p:nvPr/>
        </p:nvSpPr>
        <p:spPr bwMode="auto">
          <a:xfrm>
            <a:off x="1162703" y="3474882"/>
            <a:ext cx="117808" cy="117809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defTabSz="914378">
              <a:defRPr/>
            </a:pPr>
            <a:endParaRPr lang="en-US" sz="1300" dirty="0">
              <a:solidFill>
                <a:srgbClr val="FFFFFF"/>
              </a:solidFill>
              <a:latin typeface="Calibri" panose="020F0502020204030204" pitchFamily="34" charset="0"/>
              <a:ea typeface="ＭＳ Ｐゴシック" pitchFamily="-76" charset="-128"/>
              <a:cs typeface="Calibri" panose="020F0502020204030204" pitchFamily="34" charset="0"/>
            </a:endParaRPr>
          </a:p>
        </p:txBody>
      </p: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A3BA62E0-EAD2-BF4C-9EF8-89F19C133BDD}"/>
              </a:ext>
            </a:extLst>
          </p:cNvPr>
          <p:cNvCxnSpPr>
            <a:stCxn id="232" idx="0"/>
          </p:cNvCxnSpPr>
          <p:nvPr/>
        </p:nvCxnSpPr>
        <p:spPr bwMode="auto">
          <a:xfrm rot="5400000" flipH="1" flipV="1">
            <a:off x="3012427" y="3375088"/>
            <a:ext cx="199206" cy="38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30" name="Google Shape;547;p3">
            <a:extLst>
              <a:ext uri="{FF2B5EF4-FFF2-40B4-BE49-F238E27FC236}">
                <a16:creationId xmlns:a16="http://schemas.microsoft.com/office/drawing/2014/main" id="{319A40CD-97C9-A637-B9C9-951E2ACDCCAA}"/>
              </a:ext>
            </a:extLst>
          </p:cNvPr>
          <p:cNvSpPr/>
          <p:nvPr/>
        </p:nvSpPr>
        <p:spPr>
          <a:xfrm rot="16200000" flipH="1">
            <a:off x="2957408" y="2635589"/>
            <a:ext cx="308864" cy="611834"/>
          </a:xfrm>
          <a:custGeom>
            <a:avLst/>
            <a:gdLst/>
            <a:ahLst/>
            <a:cxnLst/>
            <a:rect l="l" t="t" r="r" b="b"/>
            <a:pathLst>
              <a:path w="548958" h="1087438" extrusionOk="0">
                <a:moveTo>
                  <a:pt x="543719" y="0"/>
                </a:moveTo>
                <a:lnTo>
                  <a:pt x="548958" y="528"/>
                </a:lnTo>
                <a:lnTo>
                  <a:pt x="548958" y="1086910"/>
                </a:lnTo>
                <a:lnTo>
                  <a:pt x="543719" y="1087438"/>
                </a:lnTo>
                <a:cubicBezTo>
                  <a:pt x="243431" y="1087438"/>
                  <a:pt x="0" y="844007"/>
                  <a:pt x="0" y="543719"/>
                </a:cubicBezTo>
                <a:cubicBezTo>
                  <a:pt x="0" y="243431"/>
                  <a:pt x="243431" y="0"/>
                  <a:pt x="543719" y="0"/>
                </a:cubicBezTo>
                <a:close/>
              </a:path>
            </a:pathLst>
          </a:custGeom>
          <a:solidFill>
            <a:srgbClr val="4285F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378">
              <a:buSzPts val="1800"/>
              <a:defRPr/>
            </a:pPr>
            <a:endParaRPr sz="1300" b="1" dirty="0">
              <a:solidFill>
                <a:srgbClr val="FFFFFF"/>
              </a:solidFill>
              <a:latin typeface="Calibri" panose="020F0502020204030204" pitchFamily="34" charset="0"/>
              <a:ea typeface="Roboto Light" panose="02000000000000000000" pitchFamily="2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231" name="Google Shape;548;p3">
            <a:extLst>
              <a:ext uri="{FF2B5EF4-FFF2-40B4-BE49-F238E27FC236}">
                <a16:creationId xmlns:a16="http://schemas.microsoft.com/office/drawing/2014/main" id="{F63FDFFA-B228-C6E9-216A-AE7C59CB2D22}"/>
              </a:ext>
            </a:extLst>
          </p:cNvPr>
          <p:cNvSpPr/>
          <p:nvPr/>
        </p:nvSpPr>
        <p:spPr>
          <a:xfrm rot="16200000" flipH="1">
            <a:off x="2875462" y="2856869"/>
            <a:ext cx="472758" cy="472905"/>
          </a:xfrm>
          <a:prstGeom prst="ellipse">
            <a:avLst/>
          </a:prstGeom>
          <a:solidFill>
            <a:srgbClr val="FFFFFF"/>
          </a:soli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 defTabSz="914378">
              <a:buSzPts val="3600"/>
              <a:defRPr/>
            </a:pPr>
            <a:endParaRPr sz="1300" b="1" dirty="0">
              <a:solidFill>
                <a:srgbClr val="DB0007"/>
              </a:solidFill>
              <a:latin typeface="Calibri" panose="020F0502020204030204" pitchFamily="34" charset="0"/>
              <a:ea typeface="Roboto Light" panose="02000000000000000000" pitchFamily="2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232" name="Oval 231">
            <a:extLst>
              <a:ext uri="{FF2B5EF4-FFF2-40B4-BE49-F238E27FC236}">
                <a16:creationId xmlns:a16="http://schemas.microsoft.com/office/drawing/2014/main" id="{A07D1E73-94CE-2991-A021-A0C4DCE7E7CC}"/>
              </a:ext>
            </a:extLst>
          </p:cNvPr>
          <p:cNvSpPr/>
          <p:nvPr/>
        </p:nvSpPr>
        <p:spPr bwMode="auto">
          <a:xfrm>
            <a:off x="3052936" y="3474882"/>
            <a:ext cx="117808" cy="117809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rgbClr val="4285F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defTabSz="914378">
              <a:defRPr/>
            </a:pPr>
            <a:endParaRPr lang="en-US" sz="1300" dirty="0">
              <a:solidFill>
                <a:srgbClr val="FFFFFF"/>
              </a:solidFill>
              <a:latin typeface="Calibri" panose="020F0502020204030204" pitchFamily="34" charset="0"/>
              <a:ea typeface="ＭＳ Ｐゴシック" pitchFamily="-76" charset="-128"/>
              <a:cs typeface="Calibri" panose="020F0502020204030204" pitchFamily="34" charset="0"/>
            </a:endParaRPr>
          </a:p>
        </p:txBody>
      </p: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0A0C4471-C5C1-F8D9-EBD4-A0B6E48D5573}"/>
              </a:ext>
            </a:extLst>
          </p:cNvPr>
          <p:cNvCxnSpPr>
            <a:stCxn id="213" idx="0"/>
          </p:cNvCxnSpPr>
          <p:nvPr/>
        </p:nvCxnSpPr>
        <p:spPr bwMode="auto">
          <a:xfrm rot="5400000" flipH="1" flipV="1">
            <a:off x="4686660" y="3375088"/>
            <a:ext cx="199206" cy="38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11" name="Google Shape;547;p3">
            <a:extLst>
              <a:ext uri="{FF2B5EF4-FFF2-40B4-BE49-F238E27FC236}">
                <a16:creationId xmlns:a16="http://schemas.microsoft.com/office/drawing/2014/main" id="{AA0FE120-9880-E065-7BAA-7ED68648574D}"/>
              </a:ext>
            </a:extLst>
          </p:cNvPr>
          <p:cNvSpPr/>
          <p:nvPr/>
        </p:nvSpPr>
        <p:spPr>
          <a:xfrm rot="16200000" flipH="1">
            <a:off x="4631641" y="2635589"/>
            <a:ext cx="308864" cy="611834"/>
          </a:xfrm>
          <a:custGeom>
            <a:avLst/>
            <a:gdLst/>
            <a:ahLst/>
            <a:cxnLst/>
            <a:rect l="l" t="t" r="r" b="b"/>
            <a:pathLst>
              <a:path w="548958" h="1087438" extrusionOk="0">
                <a:moveTo>
                  <a:pt x="543719" y="0"/>
                </a:moveTo>
                <a:lnTo>
                  <a:pt x="548958" y="528"/>
                </a:lnTo>
                <a:lnTo>
                  <a:pt x="548958" y="1086910"/>
                </a:lnTo>
                <a:lnTo>
                  <a:pt x="543719" y="1087438"/>
                </a:lnTo>
                <a:cubicBezTo>
                  <a:pt x="243431" y="1087438"/>
                  <a:pt x="0" y="844007"/>
                  <a:pt x="0" y="543719"/>
                </a:cubicBezTo>
                <a:cubicBezTo>
                  <a:pt x="0" y="243431"/>
                  <a:pt x="243431" y="0"/>
                  <a:pt x="543719" y="0"/>
                </a:cubicBezTo>
                <a:close/>
              </a:path>
            </a:pathLst>
          </a:custGeom>
          <a:solidFill>
            <a:srgbClr val="00206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378">
              <a:buSzPts val="1800"/>
              <a:defRPr/>
            </a:pPr>
            <a:endParaRPr sz="1300" b="1" dirty="0">
              <a:solidFill>
                <a:srgbClr val="FFFFFF"/>
              </a:solidFill>
              <a:latin typeface="Calibri" panose="020F0502020204030204" pitchFamily="34" charset="0"/>
              <a:ea typeface="Roboto Light" panose="02000000000000000000" pitchFamily="2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212" name="Google Shape;548;p3">
            <a:extLst>
              <a:ext uri="{FF2B5EF4-FFF2-40B4-BE49-F238E27FC236}">
                <a16:creationId xmlns:a16="http://schemas.microsoft.com/office/drawing/2014/main" id="{F86CDF0C-D5E0-D5D6-8175-521A1D193CF2}"/>
              </a:ext>
            </a:extLst>
          </p:cNvPr>
          <p:cNvSpPr/>
          <p:nvPr/>
        </p:nvSpPr>
        <p:spPr>
          <a:xfrm rot="16200000" flipH="1">
            <a:off x="4549695" y="2856869"/>
            <a:ext cx="472758" cy="472905"/>
          </a:xfrm>
          <a:prstGeom prst="ellipse">
            <a:avLst/>
          </a:prstGeom>
          <a:solidFill>
            <a:srgbClr val="FFFFFF"/>
          </a:soli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 defTabSz="914378">
              <a:buSzPts val="3600"/>
              <a:defRPr/>
            </a:pPr>
            <a:endParaRPr sz="1300" b="1" dirty="0">
              <a:solidFill>
                <a:srgbClr val="DB0007"/>
              </a:solidFill>
              <a:latin typeface="Calibri" panose="020F0502020204030204" pitchFamily="34" charset="0"/>
              <a:ea typeface="Roboto Light" panose="02000000000000000000" pitchFamily="2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213" name="Oval 212">
            <a:extLst>
              <a:ext uri="{FF2B5EF4-FFF2-40B4-BE49-F238E27FC236}">
                <a16:creationId xmlns:a16="http://schemas.microsoft.com/office/drawing/2014/main" id="{461596D0-DD44-572B-E082-242899474075}"/>
              </a:ext>
            </a:extLst>
          </p:cNvPr>
          <p:cNvSpPr/>
          <p:nvPr/>
        </p:nvSpPr>
        <p:spPr bwMode="auto">
          <a:xfrm>
            <a:off x="4727169" y="3474882"/>
            <a:ext cx="117808" cy="117809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defTabSz="914378">
              <a:defRPr/>
            </a:pPr>
            <a:endParaRPr lang="en-US" sz="1300" dirty="0">
              <a:solidFill>
                <a:srgbClr val="FFFFFF"/>
              </a:solidFill>
              <a:latin typeface="Calibri" panose="020F0502020204030204" pitchFamily="34" charset="0"/>
              <a:ea typeface="ＭＳ Ｐゴシック" pitchFamily="-76" charset="-128"/>
              <a:cs typeface="Calibri" panose="020F0502020204030204" pitchFamily="34" charset="0"/>
            </a:endParaRPr>
          </a:p>
        </p:txBody>
      </p:sp>
      <p:cxnSp>
        <p:nvCxnSpPr>
          <p:cNvPr id="191" name="Straight Connector 190">
            <a:extLst>
              <a:ext uri="{FF2B5EF4-FFF2-40B4-BE49-F238E27FC236}">
                <a16:creationId xmlns:a16="http://schemas.microsoft.com/office/drawing/2014/main" id="{CCD53039-95E0-9AC7-A3DB-2A1712D2083E}"/>
              </a:ext>
            </a:extLst>
          </p:cNvPr>
          <p:cNvCxnSpPr>
            <a:stCxn id="194" idx="0"/>
          </p:cNvCxnSpPr>
          <p:nvPr/>
        </p:nvCxnSpPr>
        <p:spPr bwMode="auto">
          <a:xfrm rot="5400000" flipH="1" flipV="1">
            <a:off x="6360893" y="3375088"/>
            <a:ext cx="199206" cy="38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2" name="Google Shape;547;p3">
            <a:extLst>
              <a:ext uri="{FF2B5EF4-FFF2-40B4-BE49-F238E27FC236}">
                <a16:creationId xmlns:a16="http://schemas.microsoft.com/office/drawing/2014/main" id="{2CE2EFCB-7C3E-ED94-6AD4-92EB55FFCEC3}"/>
              </a:ext>
            </a:extLst>
          </p:cNvPr>
          <p:cNvSpPr/>
          <p:nvPr/>
        </p:nvSpPr>
        <p:spPr>
          <a:xfrm rot="16200000" flipH="1">
            <a:off x="6305874" y="2635589"/>
            <a:ext cx="308864" cy="611834"/>
          </a:xfrm>
          <a:custGeom>
            <a:avLst/>
            <a:gdLst/>
            <a:ahLst/>
            <a:cxnLst/>
            <a:rect l="l" t="t" r="r" b="b"/>
            <a:pathLst>
              <a:path w="548958" h="1087438" extrusionOk="0">
                <a:moveTo>
                  <a:pt x="543719" y="0"/>
                </a:moveTo>
                <a:lnTo>
                  <a:pt x="548958" y="528"/>
                </a:lnTo>
                <a:lnTo>
                  <a:pt x="548958" y="1086910"/>
                </a:lnTo>
                <a:lnTo>
                  <a:pt x="543719" y="1087438"/>
                </a:lnTo>
                <a:cubicBezTo>
                  <a:pt x="243431" y="1087438"/>
                  <a:pt x="0" y="844007"/>
                  <a:pt x="0" y="543719"/>
                </a:cubicBezTo>
                <a:cubicBezTo>
                  <a:pt x="0" y="243431"/>
                  <a:pt x="243431" y="0"/>
                  <a:pt x="543719" y="0"/>
                </a:cubicBezTo>
                <a:close/>
              </a:path>
            </a:pathLst>
          </a:custGeom>
          <a:solidFill>
            <a:srgbClr val="4285F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378">
              <a:buSzPts val="1800"/>
              <a:defRPr/>
            </a:pPr>
            <a:endParaRPr sz="1300" b="1" dirty="0">
              <a:solidFill>
                <a:srgbClr val="FFFFFF"/>
              </a:solidFill>
              <a:latin typeface="Calibri" panose="020F0502020204030204" pitchFamily="34" charset="0"/>
              <a:ea typeface="Roboto Light" panose="02000000000000000000" pitchFamily="2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193" name="Google Shape;548;p3">
            <a:extLst>
              <a:ext uri="{FF2B5EF4-FFF2-40B4-BE49-F238E27FC236}">
                <a16:creationId xmlns:a16="http://schemas.microsoft.com/office/drawing/2014/main" id="{3133286C-2081-210B-E485-1DC3901A91FE}"/>
              </a:ext>
            </a:extLst>
          </p:cNvPr>
          <p:cNvSpPr/>
          <p:nvPr/>
        </p:nvSpPr>
        <p:spPr>
          <a:xfrm rot="16200000" flipH="1">
            <a:off x="6223928" y="2856869"/>
            <a:ext cx="472758" cy="472905"/>
          </a:xfrm>
          <a:prstGeom prst="ellipse">
            <a:avLst/>
          </a:prstGeom>
          <a:solidFill>
            <a:srgbClr val="FFFFFF"/>
          </a:soli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 defTabSz="914378">
              <a:buSzPts val="3600"/>
              <a:defRPr/>
            </a:pPr>
            <a:endParaRPr sz="1300" b="1" dirty="0">
              <a:solidFill>
                <a:srgbClr val="DB0007"/>
              </a:solidFill>
              <a:latin typeface="Calibri" panose="020F0502020204030204" pitchFamily="34" charset="0"/>
              <a:ea typeface="Roboto Light" panose="02000000000000000000" pitchFamily="2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194" name="Oval 193">
            <a:extLst>
              <a:ext uri="{FF2B5EF4-FFF2-40B4-BE49-F238E27FC236}">
                <a16:creationId xmlns:a16="http://schemas.microsoft.com/office/drawing/2014/main" id="{9CE799A3-C70C-5FA0-F7BC-0E4756DB3650}"/>
              </a:ext>
            </a:extLst>
          </p:cNvPr>
          <p:cNvSpPr/>
          <p:nvPr/>
        </p:nvSpPr>
        <p:spPr bwMode="auto">
          <a:xfrm>
            <a:off x="6401402" y="3474882"/>
            <a:ext cx="117808" cy="117809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rgbClr val="4285F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defTabSz="914378">
              <a:defRPr/>
            </a:pPr>
            <a:endParaRPr lang="en-US" sz="1300" dirty="0">
              <a:solidFill>
                <a:srgbClr val="FFFFFF"/>
              </a:solidFill>
              <a:latin typeface="Calibri" panose="020F0502020204030204" pitchFamily="34" charset="0"/>
              <a:ea typeface="ＭＳ Ｐゴシック" pitchFamily="-76" charset="-128"/>
              <a:cs typeface="Calibri" panose="020F0502020204030204" pitchFamily="34" charset="0"/>
            </a:endParaRPr>
          </a:p>
        </p:txBody>
      </p:sp>
      <p:sp>
        <p:nvSpPr>
          <p:cNvPr id="267" name="TextBox 266">
            <a:extLst>
              <a:ext uri="{FF2B5EF4-FFF2-40B4-BE49-F238E27FC236}">
                <a16:creationId xmlns:a16="http://schemas.microsoft.com/office/drawing/2014/main" id="{3727416F-3323-58C8-3A97-08C55FDAAB82}"/>
              </a:ext>
            </a:extLst>
          </p:cNvPr>
          <p:cNvSpPr txBox="1"/>
          <p:nvPr/>
        </p:nvSpPr>
        <p:spPr>
          <a:xfrm>
            <a:off x="7396538" y="3713654"/>
            <a:ext cx="1476000" cy="98774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NTS-104 and NTS-105 have issued method of treatment patents</a:t>
            </a:r>
          </a:p>
        </p:txBody>
      </p:sp>
      <p:cxnSp>
        <p:nvCxnSpPr>
          <p:cNvPr id="269" name="Straight Connector 268">
            <a:extLst>
              <a:ext uri="{FF2B5EF4-FFF2-40B4-BE49-F238E27FC236}">
                <a16:creationId xmlns:a16="http://schemas.microsoft.com/office/drawing/2014/main" id="{940942EF-26AC-3D8F-96FE-9AEEBF8018F9}"/>
              </a:ext>
            </a:extLst>
          </p:cNvPr>
          <p:cNvCxnSpPr>
            <a:stCxn id="272" idx="0"/>
          </p:cNvCxnSpPr>
          <p:nvPr/>
        </p:nvCxnSpPr>
        <p:spPr bwMode="auto">
          <a:xfrm rot="5400000" flipH="1" flipV="1">
            <a:off x="8035125" y="3375088"/>
            <a:ext cx="199206" cy="38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70" name="Google Shape;547;p3">
            <a:extLst>
              <a:ext uri="{FF2B5EF4-FFF2-40B4-BE49-F238E27FC236}">
                <a16:creationId xmlns:a16="http://schemas.microsoft.com/office/drawing/2014/main" id="{2307D42F-E1E0-E831-B3A9-2B994D9478D2}"/>
              </a:ext>
            </a:extLst>
          </p:cNvPr>
          <p:cNvSpPr/>
          <p:nvPr/>
        </p:nvSpPr>
        <p:spPr>
          <a:xfrm rot="16200000" flipH="1">
            <a:off x="7980106" y="2635589"/>
            <a:ext cx="308864" cy="611834"/>
          </a:xfrm>
          <a:custGeom>
            <a:avLst/>
            <a:gdLst/>
            <a:ahLst/>
            <a:cxnLst/>
            <a:rect l="l" t="t" r="r" b="b"/>
            <a:pathLst>
              <a:path w="548958" h="1087438" extrusionOk="0">
                <a:moveTo>
                  <a:pt x="543719" y="0"/>
                </a:moveTo>
                <a:lnTo>
                  <a:pt x="548958" y="528"/>
                </a:lnTo>
                <a:lnTo>
                  <a:pt x="548958" y="1086910"/>
                </a:lnTo>
                <a:lnTo>
                  <a:pt x="543719" y="1087438"/>
                </a:lnTo>
                <a:cubicBezTo>
                  <a:pt x="243431" y="1087438"/>
                  <a:pt x="0" y="844007"/>
                  <a:pt x="0" y="543719"/>
                </a:cubicBezTo>
                <a:cubicBezTo>
                  <a:pt x="0" y="243431"/>
                  <a:pt x="243431" y="0"/>
                  <a:pt x="543719" y="0"/>
                </a:cubicBezTo>
                <a:close/>
              </a:path>
            </a:pathLst>
          </a:custGeom>
          <a:solidFill>
            <a:srgbClr val="00206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378">
              <a:buSzPts val="1800"/>
              <a:defRPr/>
            </a:pPr>
            <a:endParaRPr sz="1300" b="1" dirty="0">
              <a:solidFill>
                <a:srgbClr val="FFFFFF"/>
              </a:solidFill>
              <a:latin typeface="Calibri" panose="020F0502020204030204" pitchFamily="34" charset="0"/>
              <a:ea typeface="Roboto Light" panose="02000000000000000000" pitchFamily="2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271" name="Google Shape;548;p3">
            <a:extLst>
              <a:ext uri="{FF2B5EF4-FFF2-40B4-BE49-F238E27FC236}">
                <a16:creationId xmlns:a16="http://schemas.microsoft.com/office/drawing/2014/main" id="{391F3DEE-BE96-AD93-8853-FBDAB3FAB68A}"/>
              </a:ext>
            </a:extLst>
          </p:cNvPr>
          <p:cNvSpPr/>
          <p:nvPr/>
        </p:nvSpPr>
        <p:spPr>
          <a:xfrm rot="16200000" flipH="1">
            <a:off x="7898160" y="2856869"/>
            <a:ext cx="472758" cy="472905"/>
          </a:xfrm>
          <a:prstGeom prst="ellipse">
            <a:avLst/>
          </a:prstGeom>
          <a:solidFill>
            <a:srgbClr val="FFFFFF"/>
          </a:soli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 defTabSz="914378">
              <a:buSzPts val="3600"/>
              <a:defRPr/>
            </a:pPr>
            <a:endParaRPr sz="1300" b="1" dirty="0">
              <a:solidFill>
                <a:srgbClr val="DB0007"/>
              </a:solidFill>
              <a:latin typeface="Calibri" panose="020F0502020204030204" pitchFamily="34" charset="0"/>
              <a:ea typeface="Roboto Light" panose="02000000000000000000" pitchFamily="2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272" name="Oval 271">
            <a:extLst>
              <a:ext uri="{FF2B5EF4-FFF2-40B4-BE49-F238E27FC236}">
                <a16:creationId xmlns:a16="http://schemas.microsoft.com/office/drawing/2014/main" id="{D61BF4B5-279A-AD19-80F4-AFD5422ED58E}"/>
              </a:ext>
            </a:extLst>
          </p:cNvPr>
          <p:cNvSpPr/>
          <p:nvPr/>
        </p:nvSpPr>
        <p:spPr bwMode="auto">
          <a:xfrm>
            <a:off x="8075634" y="3474882"/>
            <a:ext cx="117808" cy="117809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defTabSz="914378">
              <a:defRPr/>
            </a:pPr>
            <a:endParaRPr lang="en-US" sz="1300" dirty="0">
              <a:solidFill>
                <a:srgbClr val="FFFFFF"/>
              </a:solidFill>
              <a:latin typeface="Calibri" panose="020F0502020204030204" pitchFamily="34" charset="0"/>
              <a:ea typeface="ＭＳ Ｐゴシック" pitchFamily="-76" charset="-128"/>
              <a:cs typeface="Calibri" panose="020F0502020204030204" pitchFamily="34" charset="0"/>
            </a:endParaRPr>
          </a:p>
        </p:txBody>
      </p:sp>
      <p:cxnSp>
        <p:nvCxnSpPr>
          <p:cNvPr id="288" name="Straight Connector 287">
            <a:extLst>
              <a:ext uri="{FF2B5EF4-FFF2-40B4-BE49-F238E27FC236}">
                <a16:creationId xmlns:a16="http://schemas.microsoft.com/office/drawing/2014/main" id="{425F37C2-75E7-4EAC-A74B-760977E39AD3}"/>
              </a:ext>
            </a:extLst>
          </p:cNvPr>
          <p:cNvCxnSpPr>
            <a:cxnSpLocks/>
          </p:cNvCxnSpPr>
          <p:nvPr/>
        </p:nvCxnSpPr>
        <p:spPr>
          <a:xfrm rot="5400000" flipH="1">
            <a:off x="4570538" y="-1617318"/>
            <a:ext cx="0" cy="8604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0" name="Straight Connector 289">
            <a:extLst>
              <a:ext uri="{FF2B5EF4-FFF2-40B4-BE49-F238E27FC236}">
                <a16:creationId xmlns:a16="http://schemas.microsoft.com/office/drawing/2014/main" id="{01B03C67-58A2-FAA7-B12A-AC856773D0A6}"/>
              </a:ext>
            </a:extLst>
          </p:cNvPr>
          <p:cNvCxnSpPr>
            <a:cxnSpLocks/>
          </p:cNvCxnSpPr>
          <p:nvPr/>
        </p:nvCxnSpPr>
        <p:spPr>
          <a:xfrm flipH="1">
            <a:off x="2317877" y="863709"/>
            <a:ext cx="0" cy="17172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3" name="Straight Connector 292">
            <a:extLst>
              <a:ext uri="{FF2B5EF4-FFF2-40B4-BE49-F238E27FC236}">
                <a16:creationId xmlns:a16="http://schemas.microsoft.com/office/drawing/2014/main" id="{AD4685CA-E233-060C-4BC0-CD4B8BFC3686}"/>
              </a:ext>
            </a:extLst>
          </p:cNvPr>
          <p:cNvCxnSpPr>
            <a:cxnSpLocks/>
          </p:cNvCxnSpPr>
          <p:nvPr/>
        </p:nvCxnSpPr>
        <p:spPr>
          <a:xfrm flipH="1">
            <a:off x="4474419" y="863709"/>
            <a:ext cx="0" cy="17172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4" name="Straight Connector 293">
            <a:extLst>
              <a:ext uri="{FF2B5EF4-FFF2-40B4-BE49-F238E27FC236}">
                <a16:creationId xmlns:a16="http://schemas.microsoft.com/office/drawing/2014/main" id="{67B72560-FA0C-C50F-4073-226391039F87}"/>
              </a:ext>
            </a:extLst>
          </p:cNvPr>
          <p:cNvCxnSpPr>
            <a:cxnSpLocks/>
          </p:cNvCxnSpPr>
          <p:nvPr/>
        </p:nvCxnSpPr>
        <p:spPr>
          <a:xfrm flipH="1">
            <a:off x="6630960" y="863709"/>
            <a:ext cx="0" cy="17172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9" name="Group 298">
            <a:extLst>
              <a:ext uri="{FF2B5EF4-FFF2-40B4-BE49-F238E27FC236}">
                <a16:creationId xmlns:a16="http://schemas.microsoft.com/office/drawing/2014/main" id="{96BE3F47-CD92-A122-69B0-7FF370C78C0E}"/>
              </a:ext>
            </a:extLst>
          </p:cNvPr>
          <p:cNvGrpSpPr/>
          <p:nvPr/>
        </p:nvGrpSpPr>
        <p:grpSpPr>
          <a:xfrm>
            <a:off x="2317877" y="2787073"/>
            <a:ext cx="4979545" cy="2010325"/>
            <a:chOff x="2317877" y="2787074"/>
            <a:chExt cx="4979545" cy="1717200"/>
          </a:xfrm>
        </p:grpSpPr>
        <p:cxnSp>
          <p:nvCxnSpPr>
            <p:cNvPr id="295" name="Straight Connector 294">
              <a:extLst>
                <a:ext uri="{FF2B5EF4-FFF2-40B4-BE49-F238E27FC236}">
                  <a16:creationId xmlns:a16="http://schemas.microsoft.com/office/drawing/2014/main" id="{0CA0AD1E-1FA9-DB35-B7AA-7B724C5DFA6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17877" y="2787074"/>
              <a:ext cx="0" cy="171720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6" name="Straight Connector 295">
              <a:extLst>
                <a:ext uri="{FF2B5EF4-FFF2-40B4-BE49-F238E27FC236}">
                  <a16:creationId xmlns:a16="http://schemas.microsoft.com/office/drawing/2014/main" id="{E2DABDA6-90D3-E1C4-F021-986F2E15EB0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48957" y="2787074"/>
              <a:ext cx="0" cy="171720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7" name="Straight Connector 296">
              <a:extLst>
                <a:ext uri="{FF2B5EF4-FFF2-40B4-BE49-F238E27FC236}">
                  <a16:creationId xmlns:a16="http://schemas.microsoft.com/office/drawing/2014/main" id="{BD0DD977-CCB9-648A-EAB3-905A11648F9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23189" y="2787074"/>
              <a:ext cx="0" cy="171720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8" name="Straight Connector 297">
              <a:extLst>
                <a:ext uri="{FF2B5EF4-FFF2-40B4-BE49-F238E27FC236}">
                  <a16:creationId xmlns:a16="http://schemas.microsoft.com/office/drawing/2014/main" id="{17F658CD-A8C9-1C44-426D-B1EBB9515E9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297422" y="2787074"/>
              <a:ext cx="0" cy="171720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01" name="Graphic 300">
            <a:extLst>
              <a:ext uri="{FF2B5EF4-FFF2-40B4-BE49-F238E27FC236}">
                <a16:creationId xmlns:a16="http://schemas.microsoft.com/office/drawing/2014/main" id="{37082D31-E8F0-3453-05CD-6A6EE60D7A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13833" y="1043956"/>
            <a:ext cx="251550" cy="252000"/>
          </a:xfrm>
          <a:prstGeom prst="rect">
            <a:avLst/>
          </a:prstGeom>
        </p:spPr>
      </p:pic>
      <p:pic>
        <p:nvPicPr>
          <p:cNvPr id="303" name="Graphic 302">
            <a:extLst>
              <a:ext uri="{FF2B5EF4-FFF2-40B4-BE49-F238E27FC236}">
                <a16:creationId xmlns:a16="http://schemas.microsoft.com/office/drawing/2014/main" id="{1F51F0C4-7AE7-1453-CBF6-EFBB6CBF8DC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270149" y="1043956"/>
            <a:ext cx="252000" cy="252000"/>
          </a:xfrm>
          <a:prstGeom prst="rect">
            <a:avLst/>
          </a:prstGeom>
        </p:spPr>
      </p:pic>
      <p:pic>
        <p:nvPicPr>
          <p:cNvPr id="305" name="Graphic 304">
            <a:extLst>
              <a:ext uri="{FF2B5EF4-FFF2-40B4-BE49-F238E27FC236}">
                <a16:creationId xmlns:a16="http://schemas.microsoft.com/office/drawing/2014/main" id="{CAAD8B63-6C87-CF01-3210-208A3ED1C4B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449557" y="1043956"/>
            <a:ext cx="206267" cy="252000"/>
          </a:xfrm>
          <a:prstGeom prst="rect">
            <a:avLst/>
          </a:prstGeom>
        </p:spPr>
      </p:pic>
      <p:pic>
        <p:nvPicPr>
          <p:cNvPr id="307" name="Graphic 306">
            <a:extLst>
              <a:ext uri="{FF2B5EF4-FFF2-40B4-BE49-F238E27FC236}">
                <a16:creationId xmlns:a16="http://schemas.microsoft.com/office/drawing/2014/main" id="{3FA7FCD6-0CD5-EFCE-51E5-75030CE9892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678885" y="1043956"/>
            <a:ext cx="252000" cy="252000"/>
          </a:xfrm>
          <a:prstGeom prst="rect">
            <a:avLst/>
          </a:prstGeom>
        </p:spPr>
      </p:pic>
      <p:pic>
        <p:nvPicPr>
          <p:cNvPr id="309" name="Graphic 308">
            <a:extLst>
              <a:ext uri="{FF2B5EF4-FFF2-40B4-BE49-F238E27FC236}">
                <a16:creationId xmlns:a16="http://schemas.microsoft.com/office/drawing/2014/main" id="{49C05FEA-97A0-DC00-2E48-8703CF6187C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103258" y="2967321"/>
            <a:ext cx="236700" cy="252000"/>
          </a:xfrm>
          <a:prstGeom prst="rect">
            <a:avLst/>
          </a:prstGeom>
        </p:spPr>
      </p:pic>
      <p:pic>
        <p:nvPicPr>
          <p:cNvPr id="311" name="Graphic 310">
            <a:extLst>
              <a:ext uri="{FF2B5EF4-FFF2-40B4-BE49-F238E27FC236}">
                <a16:creationId xmlns:a16="http://schemas.microsoft.com/office/drawing/2014/main" id="{0DFC0BB2-38C8-18AF-0D47-C1C8CF0B5BE2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993041" y="2967321"/>
            <a:ext cx="237600" cy="252000"/>
          </a:xfrm>
          <a:prstGeom prst="rect">
            <a:avLst/>
          </a:prstGeom>
        </p:spPr>
      </p:pic>
      <p:pic>
        <p:nvPicPr>
          <p:cNvPr id="313" name="Graphic 312">
            <a:extLst>
              <a:ext uri="{FF2B5EF4-FFF2-40B4-BE49-F238E27FC236}">
                <a16:creationId xmlns:a16="http://schemas.microsoft.com/office/drawing/2014/main" id="{850A5BC1-ED2F-8269-8B18-C120E8369A9B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647856" y="2967321"/>
            <a:ext cx="276436" cy="252000"/>
          </a:xfrm>
          <a:prstGeom prst="rect">
            <a:avLst/>
          </a:prstGeom>
        </p:spPr>
      </p:pic>
      <p:pic>
        <p:nvPicPr>
          <p:cNvPr id="315" name="Graphic 314">
            <a:extLst>
              <a:ext uri="{FF2B5EF4-FFF2-40B4-BE49-F238E27FC236}">
                <a16:creationId xmlns:a16="http://schemas.microsoft.com/office/drawing/2014/main" id="{97DDC9A1-F43A-3067-BDFF-CB1EEFAFF6C1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7993215" y="2967321"/>
            <a:ext cx="282649" cy="252000"/>
          </a:xfrm>
          <a:prstGeom prst="rect">
            <a:avLst/>
          </a:prstGeom>
        </p:spPr>
      </p:pic>
      <p:pic>
        <p:nvPicPr>
          <p:cNvPr id="317" name="Graphic 316">
            <a:extLst>
              <a:ext uri="{FF2B5EF4-FFF2-40B4-BE49-F238E27FC236}">
                <a16:creationId xmlns:a16="http://schemas.microsoft.com/office/drawing/2014/main" id="{88017982-B933-A6D0-1337-B1F2EA9399C7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6343922" y="2967321"/>
            <a:ext cx="232771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15636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EBF88CF-EADE-0F67-DA02-E64AA88B96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EBF88CF-EADE-0F67-DA02-E64AA88B96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C99CC41D-D7FA-B07C-5F40-B08159283E4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THANK YOU</a:t>
            </a:r>
          </a:p>
        </p:txBody>
      </p:sp>
      <p:sp>
        <p:nvSpPr>
          <p:cNvPr id="10" name="Subtitle 9">
            <a:extLst>
              <a:ext uri="{FF2B5EF4-FFF2-40B4-BE49-F238E27FC236}">
                <a16:creationId xmlns:a16="http://schemas.microsoft.com/office/drawing/2014/main" id="{FD44326C-8455-978A-F138-02C3377ACBE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656178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B5E7D42-C2EB-C9BD-0B5B-F350B5B655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7323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B5E7D42-C2EB-C9BD-0B5B-F350B5B655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4922B5B-E133-5741-5B24-3CDCD4F9BB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607" y="202634"/>
            <a:ext cx="8604931" cy="369332"/>
          </a:xfrm>
        </p:spPr>
        <p:txBody>
          <a:bodyPr vert="horz"/>
          <a:lstStyle/>
          <a:p>
            <a:r>
              <a:rPr lang="en-US" dirty="0"/>
              <a:t>Acknowledgements</a:t>
            </a: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BE95E078-3F09-8D5F-D183-012DF4751A99}"/>
              </a:ext>
            </a:extLst>
          </p:cNvPr>
          <p:cNvSpPr/>
          <p:nvPr/>
        </p:nvSpPr>
        <p:spPr>
          <a:xfrm>
            <a:off x="829881" y="1040764"/>
            <a:ext cx="820077" cy="820077"/>
          </a:xfrm>
          <a:custGeom>
            <a:avLst/>
            <a:gdLst>
              <a:gd name="connsiteX0" fmla="*/ 1871076 w 2090660"/>
              <a:gd name="connsiteY0" fmla="*/ 2090660 h 2090659"/>
              <a:gd name="connsiteX1" fmla="*/ 219584 w 2090660"/>
              <a:gd name="connsiteY1" fmla="*/ 2090660 h 2090659"/>
              <a:gd name="connsiteX2" fmla="*/ 0 w 2090660"/>
              <a:gd name="connsiteY2" fmla="*/ 1871075 h 2090659"/>
              <a:gd name="connsiteX3" fmla="*/ 0 w 2090660"/>
              <a:gd name="connsiteY3" fmla="*/ 219584 h 2090659"/>
              <a:gd name="connsiteX4" fmla="*/ 219584 w 2090660"/>
              <a:gd name="connsiteY4" fmla="*/ 0 h 2090659"/>
              <a:gd name="connsiteX5" fmla="*/ 1871076 w 2090660"/>
              <a:gd name="connsiteY5" fmla="*/ 0 h 2090659"/>
              <a:gd name="connsiteX6" fmla="*/ 2090660 w 2090660"/>
              <a:gd name="connsiteY6" fmla="*/ 219584 h 2090659"/>
              <a:gd name="connsiteX7" fmla="*/ 2090660 w 2090660"/>
              <a:gd name="connsiteY7" fmla="*/ 1871075 h 2090659"/>
              <a:gd name="connsiteX8" fmla="*/ 1871076 w 2090660"/>
              <a:gd name="connsiteY8" fmla="*/ 2090660 h 2090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90660" h="2090659">
                <a:moveTo>
                  <a:pt x="1871076" y="2090660"/>
                </a:moveTo>
                <a:lnTo>
                  <a:pt x="219584" y="2090660"/>
                </a:lnTo>
                <a:cubicBezTo>
                  <a:pt x="98193" y="2090660"/>
                  <a:pt x="0" y="1992149"/>
                  <a:pt x="0" y="1871075"/>
                </a:cubicBezTo>
                <a:lnTo>
                  <a:pt x="0" y="219584"/>
                </a:lnTo>
                <a:cubicBezTo>
                  <a:pt x="0" y="98193"/>
                  <a:pt x="98511" y="0"/>
                  <a:pt x="219584" y="0"/>
                </a:cubicBezTo>
                <a:lnTo>
                  <a:pt x="1871076" y="0"/>
                </a:lnTo>
                <a:cubicBezTo>
                  <a:pt x="1992467" y="0"/>
                  <a:pt x="2090660" y="98511"/>
                  <a:pt x="2090660" y="219584"/>
                </a:cubicBezTo>
                <a:lnTo>
                  <a:pt x="2090660" y="1871075"/>
                </a:lnTo>
                <a:cubicBezTo>
                  <a:pt x="2090660" y="1992466"/>
                  <a:pt x="1992467" y="2090660"/>
                  <a:pt x="1871076" y="2090660"/>
                </a:cubicBezTo>
                <a:close/>
              </a:path>
            </a:pathLst>
          </a:custGeom>
          <a:solidFill>
            <a:schemeClr val="bg1"/>
          </a:solidFill>
          <a:ln w="3178" cap="flat">
            <a:noFill/>
            <a:prstDash val="solid"/>
            <a:miter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7E429AAB-C3AA-8C2D-A85B-3B8D90872F62}"/>
              </a:ext>
            </a:extLst>
          </p:cNvPr>
          <p:cNvSpPr/>
          <p:nvPr/>
        </p:nvSpPr>
        <p:spPr>
          <a:xfrm>
            <a:off x="750603" y="1478787"/>
            <a:ext cx="497979" cy="461332"/>
          </a:xfrm>
          <a:custGeom>
            <a:avLst/>
            <a:gdLst>
              <a:gd name="connsiteX0" fmla="*/ 1247596 w 1269522"/>
              <a:gd name="connsiteY0" fmla="*/ 1176095 h 1176095"/>
              <a:gd name="connsiteX1" fmla="*/ 1230753 w 1269522"/>
              <a:gd name="connsiteY1" fmla="*/ 1176095 h 1176095"/>
              <a:gd name="connsiteX2" fmla="*/ 1208827 w 1269522"/>
              <a:gd name="connsiteY2" fmla="*/ 1154169 h 1176095"/>
              <a:gd name="connsiteX3" fmla="*/ 1230753 w 1269522"/>
              <a:gd name="connsiteY3" fmla="*/ 1132242 h 1176095"/>
              <a:gd name="connsiteX4" fmla="*/ 1247596 w 1269522"/>
              <a:gd name="connsiteY4" fmla="*/ 1132242 h 1176095"/>
              <a:gd name="connsiteX5" fmla="*/ 1269522 w 1269522"/>
              <a:gd name="connsiteY5" fmla="*/ 1154169 h 1176095"/>
              <a:gd name="connsiteX6" fmla="*/ 1247596 w 1269522"/>
              <a:gd name="connsiteY6" fmla="*/ 1176095 h 1176095"/>
              <a:gd name="connsiteX7" fmla="*/ 1060742 w 1269522"/>
              <a:gd name="connsiteY7" fmla="*/ 1176095 h 1176095"/>
              <a:gd name="connsiteX8" fmla="*/ 1043900 w 1269522"/>
              <a:gd name="connsiteY8" fmla="*/ 1176095 h 1176095"/>
              <a:gd name="connsiteX9" fmla="*/ 1021973 w 1269522"/>
              <a:gd name="connsiteY9" fmla="*/ 1154169 h 1176095"/>
              <a:gd name="connsiteX10" fmla="*/ 1043900 w 1269522"/>
              <a:gd name="connsiteY10" fmla="*/ 1132242 h 1176095"/>
              <a:gd name="connsiteX11" fmla="*/ 1060742 w 1269522"/>
              <a:gd name="connsiteY11" fmla="*/ 1132242 h 1176095"/>
              <a:gd name="connsiteX12" fmla="*/ 1082669 w 1269522"/>
              <a:gd name="connsiteY12" fmla="*/ 1154169 h 1176095"/>
              <a:gd name="connsiteX13" fmla="*/ 1060742 w 1269522"/>
              <a:gd name="connsiteY13" fmla="*/ 1176095 h 1176095"/>
              <a:gd name="connsiteX14" fmla="*/ 874207 w 1269522"/>
              <a:gd name="connsiteY14" fmla="*/ 1176095 h 1176095"/>
              <a:gd name="connsiteX15" fmla="*/ 857364 w 1269522"/>
              <a:gd name="connsiteY15" fmla="*/ 1176095 h 1176095"/>
              <a:gd name="connsiteX16" fmla="*/ 835438 w 1269522"/>
              <a:gd name="connsiteY16" fmla="*/ 1154169 h 1176095"/>
              <a:gd name="connsiteX17" fmla="*/ 857364 w 1269522"/>
              <a:gd name="connsiteY17" fmla="*/ 1132242 h 1176095"/>
              <a:gd name="connsiteX18" fmla="*/ 874207 w 1269522"/>
              <a:gd name="connsiteY18" fmla="*/ 1132242 h 1176095"/>
              <a:gd name="connsiteX19" fmla="*/ 896133 w 1269522"/>
              <a:gd name="connsiteY19" fmla="*/ 1154169 h 1176095"/>
              <a:gd name="connsiteX20" fmla="*/ 874207 w 1269522"/>
              <a:gd name="connsiteY20" fmla="*/ 1176095 h 1176095"/>
              <a:gd name="connsiteX21" fmla="*/ 687353 w 1269522"/>
              <a:gd name="connsiteY21" fmla="*/ 1176095 h 1176095"/>
              <a:gd name="connsiteX22" fmla="*/ 670511 w 1269522"/>
              <a:gd name="connsiteY22" fmla="*/ 1176095 h 1176095"/>
              <a:gd name="connsiteX23" fmla="*/ 648584 w 1269522"/>
              <a:gd name="connsiteY23" fmla="*/ 1154169 h 1176095"/>
              <a:gd name="connsiteX24" fmla="*/ 670511 w 1269522"/>
              <a:gd name="connsiteY24" fmla="*/ 1132242 h 1176095"/>
              <a:gd name="connsiteX25" fmla="*/ 687353 w 1269522"/>
              <a:gd name="connsiteY25" fmla="*/ 1132242 h 1176095"/>
              <a:gd name="connsiteX26" fmla="*/ 709280 w 1269522"/>
              <a:gd name="connsiteY26" fmla="*/ 1154169 h 1176095"/>
              <a:gd name="connsiteX27" fmla="*/ 687353 w 1269522"/>
              <a:gd name="connsiteY27" fmla="*/ 1176095 h 1176095"/>
              <a:gd name="connsiteX28" fmla="*/ 500818 w 1269522"/>
              <a:gd name="connsiteY28" fmla="*/ 1176095 h 1176095"/>
              <a:gd name="connsiteX29" fmla="*/ 483976 w 1269522"/>
              <a:gd name="connsiteY29" fmla="*/ 1176095 h 1176095"/>
              <a:gd name="connsiteX30" fmla="*/ 462049 w 1269522"/>
              <a:gd name="connsiteY30" fmla="*/ 1154169 h 1176095"/>
              <a:gd name="connsiteX31" fmla="*/ 483976 w 1269522"/>
              <a:gd name="connsiteY31" fmla="*/ 1132242 h 1176095"/>
              <a:gd name="connsiteX32" fmla="*/ 500818 w 1269522"/>
              <a:gd name="connsiteY32" fmla="*/ 1132242 h 1176095"/>
              <a:gd name="connsiteX33" fmla="*/ 522744 w 1269522"/>
              <a:gd name="connsiteY33" fmla="*/ 1154169 h 1176095"/>
              <a:gd name="connsiteX34" fmla="*/ 500818 w 1269522"/>
              <a:gd name="connsiteY34" fmla="*/ 1176095 h 1176095"/>
              <a:gd name="connsiteX35" fmla="*/ 313964 w 1269522"/>
              <a:gd name="connsiteY35" fmla="*/ 1176095 h 1176095"/>
              <a:gd name="connsiteX36" fmla="*/ 297122 w 1269522"/>
              <a:gd name="connsiteY36" fmla="*/ 1176095 h 1176095"/>
              <a:gd name="connsiteX37" fmla="*/ 275196 w 1269522"/>
              <a:gd name="connsiteY37" fmla="*/ 1154169 h 1176095"/>
              <a:gd name="connsiteX38" fmla="*/ 297122 w 1269522"/>
              <a:gd name="connsiteY38" fmla="*/ 1132242 h 1176095"/>
              <a:gd name="connsiteX39" fmla="*/ 313964 w 1269522"/>
              <a:gd name="connsiteY39" fmla="*/ 1132242 h 1176095"/>
              <a:gd name="connsiteX40" fmla="*/ 335891 w 1269522"/>
              <a:gd name="connsiteY40" fmla="*/ 1154169 h 1176095"/>
              <a:gd name="connsiteX41" fmla="*/ 313964 w 1269522"/>
              <a:gd name="connsiteY41" fmla="*/ 1176095 h 1176095"/>
              <a:gd name="connsiteX42" fmla="*/ 133784 w 1269522"/>
              <a:gd name="connsiteY42" fmla="*/ 1141458 h 1176095"/>
              <a:gd name="connsiteX43" fmla="*/ 122344 w 1269522"/>
              <a:gd name="connsiteY43" fmla="*/ 1138280 h 1176095"/>
              <a:gd name="connsiteX44" fmla="*/ 106773 w 1269522"/>
              <a:gd name="connsiteY44" fmla="*/ 1128111 h 1176095"/>
              <a:gd name="connsiteX45" fmla="*/ 101689 w 1269522"/>
              <a:gd name="connsiteY45" fmla="*/ 1097286 h 1176095"/>
              <a:gd name="connsiteX46" fmla="*/ 132513 w 1269522"/>
              <a:gd name="connsiteY46" fmla="*/ 1092202 h 1176095"/>
              <a:gd name="connsiteX47" fmla="*/ 145224 w 1269522"/>
              <a:gd name="connsiteY47" fmla="*/ 1100782 h 1176095"/>
              <a:gd name="connsiteX48" fmla="*/ 152533 w 1269522"/>
              <a:gd name="connsiteY48" fmla="*/ 1131289 h 1176095"/>
              <a:gd name="connsiteX49" fmla="*/ 133784 w 1269522"/>
              <a:gd name="connsiteY49" fmla="*/ 1141458 h 1176095"/>
              <a:gd name="connsiteX50" fmla="*/ 27964 w 1269522"/>
              <a:gd name="connsiteY50" fmla="*/ 993691 h 1176095"/>
              <a:gd name="connsiteX51" fmla="*/ 6356 w 1269522"/>
              <a:gd name="connsiteY51" fmla="*/ 976531 h 1176095"/>
              <a:gd name="connsiteX52" fmla="*/ 2860 w 1269522"/>
              <a:gd name="connsiteY52" fmla="*/ 958418 h 1176095"/>
              <a:gd name="connsiteX53" fmla="*/ 21291 w 1269522"/>
              <a:gd name="connsiteY53" fmla="*/ 933313 h 1176095"/>
              <a:gd name="connsiteX54" fmla="*/ 46396 w 1269522"/>
              <a:gd name="connsiteY54" fmla="*/ 951744 h 1176095"/>
              <a:gd name="connsiteX55" fmla="*/ 49256 w 1269522"/>
              <a:gd name="connsiteY55" fmla="*/ 966998 h 1176095"/>
              <a:gd name="connsiteX56" fmla="*/ 32731 w 1269522"/>
              <a:gd name="connsiteY56" fmla="*/ 993373 h 1176095"/>
              <a:gd name="connsiteX57" fmla="*/ 27964 w 1269522"/>
              <a:gd name="connsiteY57" fmla="*/ 993691 h 1176095"/>
              <a:gd name="connsiteX58" fmla="*/ 21927 w 1269522"/>
              <a:gd name="connsiteY58" fmla="*/ 807473 h 1176095"/>
              <a:gd name="connsiteX59" fmla="*/ 0 w 1269522"/>
              <a:gd name="connsiteY59" fmla="*/ 785547 h 1176095"/>
              <a:gd name="connsiteX60" fmla="*/ 0 w 1269522"/>
              <a:gd name="connsiteY60" fmla="*/ 768704 h 1176095"/>
              <a:gd name="connsiteX61" fmla="*/ 21927 w 1269522"/>
              <a:gd name="connsiteY61" fmla="*/ 746778 h 1176095"/>
              <a:gd name="connsiteX62" fmla="*/ 43853 w 1269522"/>
              <a:gd name="connsiteY62" fmla="*/ 768704 h 1176095"/>
              <a:gd name="connsiteX63" fmla="*/ 43853 w 1269522"/>
              <a:gd name="connsiteY63" fmla="*/ 785547 h 1176095"/>
              <a:gd name="connsiteX64" fmla="*/ 21927 w 1269522"/>
              <a:gd name="connsiteY64" fmla="*/ 807473 h 1176095"/>
              <a:gd name="connsiteX65" fmla="*/ 21927 w 1269522"/>
              <a:gd name="connsiteY65" fmla="*/ 620620 h 1176095"/>
              <a:gd name="connsiteX66" fmla="*/ 0 w 1269522"/>
              <a:gd name="connsiteY66" fmla="*/ 598693 h 1176095"/>
              <a:gd name="connsiteX67" fmla="*/ 0 w 1269522"/>
              <a:gd name="connsiteY67" fmla="*/ 581533 h 1176095"/>
              <a:gd name="connsiteX68" fmla="*/ 21927 w 1269522"/>
              <a:gd name="connsiteY68" fmla="*/ 559606 h 1176095"/>
              <a:gd name="connsiteX69" fmla="*/ 43853 w 1269522"/>
              <a:gd name="connsiteY69" fmla="*/ 581533 h 1176095"/>
              <a:gd name="connsiteX70" fmla="*/ 43853 w 1269522"/>
              <a:gd name="connsiteY70" fmla="*/ 598375 h 1176095"/>
              <a:gd name="connsiteX71" fmla="*/ 21927 w 1269522"/>
              <a:gd name="connsiteY71" fmla="*/ 620620 h 1176095"/>
              <a:gd name="connsiteX72" fmla="*/ 21927 w 1269522"/>
              <a:gd name="connsiteY72" fmla="*/ 434084 h 1176095"/>
              <a:gd name="connsiteX73" fmla="*/ 0 w 1269522"/>
              <a:gd name="connsiteY73" fmla="*/ 412158 h 1176095"/>
              <a:gd name="connsiteX74" fmla="*/ 0 w 1269522"/>
              <a:gd name="connsiteY74" fmla="*/ 395316 h 1176095"/>
              <a:gd name="connsiteX75" fmla="*/ 21927 w 1269522"/>
              <a:gd name="connsiteY75" fmla="*/ 373389 h 1176095"/>
              <a:gd name="connsiteX76" fmla="*/ 43853 w 1269522"/>
              <a:gd name="connsiteY76" fmla="*/ 395316 h 1176095"/>
              <a:gd name="connsiteX77" fmla="*/ 43853 w 1269522"/>
              <a:gd name="connsiteY77" fmla="*/ 412158 h 1176095"/>
              <a:gd name="connsiteX78" fmla="*/ 21927 w 1269522"/>
              <a:gd name="connsiteY78" fmla="*/ 434084 h 1176095"/>
              <a:gd name="connsiteX79" fmla="*/ 21927 w 1269522"/>
              <a:gd name="connsiteY79" fmla="*/ 247231 h 1176095"/>
              <a:gd name="connsiteX80" fmla="*/ 0 w 1269522"/>
              <a:gd name="connsiteY80" fmla="*/ 225304 h 1176095"/>
              <a:gd name="connsiteX81" fmla="*/ 0 w 1269522"/>
              <a:gd name="connsiteY81" fmla="*/ 208462 h 1176095"/>
              <a:gd name="connsiteX82" fmla="*/ 21927 w 1269522"/>
              <a:gd name="connsiteY82" fmla="*/ 186536 h 1176095"/>
              <a:gd name="connsiteX83" fmla="*/ 43853 w 1269522"/>
              <a:gd name="connsiteY83" fmla="*/ 208462 h 1176095"/>
              <a:gd name="connsiteX84" fmla="*/ 43853 w 1269522"/>
              <a:gd name="connsiteY84" fmla="*/ 225304 h 1176095"/>
              <a:gd name="connsiteX85" fmla="*/ 21927 w 1269522"/>
              <a:gd name="connsiteY85" fmla="*/ 247231 h 1176095"/>
              <a:gd name="connsiteX86" fmla="*/ 21927 w 1269522"/>
              <a:gd name="connsiteY86" fmla="*/ 60696 h 1176095"/>
              <a:gd name="connsiteX87" fmla="*/ 0 w 1269522"/>
              <a:gd name="connsiteY87" fmla="*/ 38769 h 1176095"/>
              <a:gd name="connsiteX88" fmla="*/ 0 w 1269522"/>
              <a:gd name="connsiteY88" fmla="*/ 21927 h 1176095"/>
              <a:gd name="connsiteX89" fmla="*/ 21927 w 1269522"/>
              <a:gd name="connsiteY89" fmla="*/ 0 h 1176095"/>
              <a:gd name="connsiteX90" fmla="*/ 43853 w 1269522"/>
              <a:gd name="connsiteY90" fmla="*/ 21927 h 1176095"/>
              <a:gd name="connsiteX91" fmla="*/ 43853 w 1269522"/>
              <a:gd name="connsiteY91" fmla="*/ 38769 h 1176095"/>
              <a:gd name="connsiteX92" fmla="*/ 21927 w 1269522"/>
              <a:gd name="connsiteY92" fmla="*/ 60696 h 1176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</a:cxnLst>
            <a:rect l="l" t="t" r="r" b="b"/>
            <a:pathLst>
              <a:path w="1269522" h="1176095">
                <a:moveTo>
                  <a:pt x="1247596" y="1176095"/>
                </a:moveTo>
                <a:lnTo>
                  <a:pt x="1230753" y="1176095"/>
                </a:lnTo>
                <a:cubicBezTo>
                  <a:pt x="1218678" y="1176095"/>
                  <a:pt x="1208827" y="1166244"/>
                  <a:pt x="1208827" y="1154169"/>
                </a:cubicBezTo>
                <a:cubicBezTo>
                  <a:pt x="1208827" y="1142093"/>
                  <a:pt x="1218678" y="1132242"/>
                  <a:pt x="1230753" y="1132242"/>
                </a:cubicBezTo>
                <a:lnTo>
                  <a:pt x="1247596" y="1132242"/>
                </a:lnTo>
                <a:cubicBezTo>
                  <a:pt x="1259671" y="1132242"/>
                  <a:pt x="1269522" y="1142093"/>
                  <a:pt x="1269522" y="1154169"/>
                </a:cubicBezTo>
                <a:cubicBezTo>
                  <a:pt x="1269522" y="1166244"/>
                  <a:pt x="1259671" y="1176095"/>
                  <a:pt x="1247596" y="1176095"/>
                </a:cubicBezTo>
                <a:close/>
                <a:moveTo>
                  <a:pt x="1060742" y="1176095"/>
                </a:moveTo>
                <a:lnTo>
                  <a:pt x="1043900" y="1176095"/>
                </a:lnTo>
                <a:cubicBezTo>
                  <a:pt x="1031825" y="1176095"/>
                  <a:pt x="1021973" y="1166244"/>
                  <a:pt x="1021973" y="1154169"/>
                </a:cubicBezTo>
                <a:cubicBezTo>
                  <a:pt x="1021973" y="1142093"/>
                  <a:pt x="1031825" y="1132242"/>
                  <a:pt x="1043900" y="1132242"/>
                </a:cubicBezTo>
                <a:lnTo>
                  <a:pt x="1060742" y="1132242"/>
                </a:lnTo>
                <a:cubicBezTo>
                  <a:pt x="1072818" y="1132242"/>
                  <a:pt x="1082669" y="1142093"/>
                  <a:pt x="1082669" y="1154169"/>
                </a:cubicBezTo>
                <a:cubicBezTo>
                  <a:pt x="1082669" y="1166244"/>
                  <a:pt x="1072818" y="1176095"/>
                  <a:pt x="1060742" y="1176095"/>
                </a:cubicBezTo>
                <a:close/>
                <a:moveTo>
                  <a:pt x="874207" y="1176095"/>
                </a:moveTo>
                <a:lnTo>
                  <a:pt x="857364" y="1176095"/>
                </a:lnTo>
                <a:cubicBezTo>
                  <a:pt x="845289" y="1176095"/>
                  <a:pt x="835438" y="1166244"/>
                  <a:pt x="835438" y="1154169"/>
                </a:cubicBezTo>
                <a:cubicBezTo>
                  <a:pt x="835438" y="1142093"/>
                  <a:pt x="845289" y="1132242"/>
                  <a:pt x="857364" y="1132242"/>
                </a:cubicBezTo>
                <a:lnTo>
                  <a:pt x="874207" y="1132242"/>
                </a:lnTo>
                <a:cubicBezTo>
                  <a:pt x="886282" y="1132242"/>
                  <a:pt x="896133" y="1142093"/>
                  <a:pt x="896133" y="1154169"/>
                </a:cubicBezTo>
                <a:cubicBezTo>
                  <a:pt x="896133" y="1166244"/>
                  <a:pt x="886282" y="1176095"/>
                  <a:pt x="874207" y="1176095"/>
                </a:cubicBezTo>
                <a:close/>
                <a:moveTo>
                  <a:pt x="687353" y="1176095"/>
                </a:moveTo>
                <a:lnTo>
                  <a:pt x="670511" y="1176095"/>
                </a:lnTo>
                <a:cubicBezTo>
                  <a:pt x="658436" y="1176095"/>
                  <a:pt x="648584" y="1166244"/>
                  <a:pt x="648584" y="1154169"/>
                </a:cubicBezTo>
                <a:cubicBezTo>
                  <a:pt x="648584" y="1142093"/>
                  <a:pt x="658436" y="1132242"/>
                  <a:pt x="670511" y="1132242"/>
                </a:cubicBezTo>
                <a:lnTo>
                  <a:pt x="687353" y="1132242"/>
                </a:lnTo>
                <a:cubicBezTo>
                  <a:pt x="699429" y="1132242"/>
                  <a:pt x="709280" y="1142093"/>
                  <a:pt x="709280" y="1154169"/>
                </a:cubicBezTo>
                <a:cubicBezTo>
                  <a:pt x="709280" y="1166244"/>
                  <a:pt x="699429" y="1176095"/>
                  <a:pt x="687353" y="1176095"/>
                </a:cubicBezTo>
                <a:close/>
                <a:moveTo>
                  <a:pt x="500818" y="1176095"/>
                </a:moveTo>
                <a:lnTo>
                  <a:pt x="483976" y="1176095"/>
                </a:lnTo>
                <a:cubicBezTo>
                  <a:pt x="471900" y="1176095"/>
                  <a:pt x="462049" y="1166244"/>
                  <a:pt x="462049" y="1154169"/>
                </a:cubicBezTo>
                <a:cubicBezTo>
                  <a:pt x="462049" y="1142093"/>
                  <a:pt x="471900" y="1132242"/>
                  <a:pt x="483976" y="1132242"/>
                </a:cubicBezTo>
                <a:lnTo>
                  <a:pt x="500818" y="1132242"/>
                </a:lnTo>
                <a:cubicBezTo>
                  <a:pt x="512893" y="1132242"/>
                  <a:pt x="522744" y="1142093"/>
                  <a:pt x="522744" y="1154169"/>
                </a:cubicBezTo>
                <a:cubicBezTo>
                  <a:pt x="522744" y="1166244"/>
                  <a:pt x="512893" y="1176095"/>
                  <a:pt x="500818" y="1176095"/>
                </a:cubicBezTo>
                <a:close/>
                <a:moveTo>
                  <a:pt x="313964" y="1176095"/>
                </a:moveTo>
                <a:lnTo>
                  <a:pt x="297122" y="1176095"/>
                </a:lnTo>
                <a:cubicBezTo>
                  <a:pt x="285047" y="1176095"/>
                  <a:pt x="275196" y="1166244"/>
                  <a:pt x="275196" y="1154169"/>
                </a:cubicBezTo>
                <a:cubicBezTo>
                  <a:pt x="275196" y="1142093"/>
                  <a:pt x="285047" y="1132242"/>
                  <a:pt x="297122" y="1132242"/>
                </a:cubicBezTo>
                <a:lnTo>
                  <a:pt x="313964" y="1132242"/>
                </a:lnTo>
                <a:cubicBezTo>
                  <a:pt x="326040" y="1132242"/>
                  <a:pt x="335891" y="1142093"/>
                  <a:pt x="335891" y="1154169"/>
                </a:cubicBezTo>
                <a:cubicBezTo>
                  <a:pt x="335891" y="1166244"/>
                  <a:pt x="326040" y="1176095"/>
                  <a:pt x="313964" y="1176095"/>
                </a:cubicBezTo>
                <a:close/>
                <a:moveTo>
                  <a:pt x="133784" y="1141458"/>
                </a:moveTo>
                <a:cubicBezTo>
                  <a:pt x="129971" y="1141458"/>
                  <a:pt x="125840" y="1140504"/>
                  <a:pt x="122344" y="1138280"/>
                </a:cubicBezTo>
                <a:cubicBezTo>
                  <a:pt x="116942" y="1135102"/>
                  <a:pt x="111858" y="1131606"/>
                  <a:pt x="106773" y="1128111"/>
                </a:cubicBezTo>
                <a:cubicBezTo>
                  <a:pt x="96922" y="1121120"/>
                  <a:pt x="94698" y="1107138"/>
                  <a:pt x="101689" y="1097286"/>
                </a:cubicBezTo>
                <a:cubicBezTo>
                  <a:pt x="108680" y="1087435"/>
                  <a:pt x="122662" y="1085211"/>
                  <a:pt x="132513" y="1092202"/>
                </a:cubicBezTo>
                <a:cubicBezTo>
                  <a:pt x="136644" y="1095062"/>
                  <a:pt x="141093" y="1097922"/>
                  <a:pt x="145224" y="1100782"/>
                </a:cubicBezTo>
                <a:cubicBezTo>
                  <a:pt x="155711" y="1107138"/>
                  <a:pt x="158889" y="1120802"/>
                  <a:pt x="152533" y="1131289"/>
                </a:cubicBezTo>
                <a:cubicBezTo>
                  <a:pt x="148402" y="1137644"/>
                  <a:pt x="141093" y="1141458"/>
                  <a:pt x="133784" y="1141458"/>
                </a:cubicBezTo>
                <a:close/>
                <a:moveTo>
                  <a:pt x="27964" y="993691"/>
                </a:moveTo>
                <a:cubicBezTo>
                  <a:pt x="17796" y="993691"/>
                  <a:pt x="8898" y="986700"/>
                  <a:pt x="6356" y="976531"/>
                </a:cubicBezTo>
                <a:cubicBezTo>
                  <a:pt x="5084" y="970493"/>
                  <a:pt x="3813" y="964455"/>
                  <a:pt x="2860" y="958418"/>
                </a:cubicBezTo>
                <a:cubicBezTo>
                  <a:pt x="953" y="946342"/>
                  <a:pt x="9216" y="935220"/>
                  <a:pt x="21291" y="933313"/>
                </a:cubicBezTo>
                <a:cubicBezTo>
                  <a:pt x="33367" y="931406"/>
                  <a:pt x="44489" y="939669"/>
                  <a:pt x="46396" y="951744"/>
                </a:cubicBezTo>
                <a:cubicBezTo>
                  <a:pt x="47031" y="956829"/>
                  <a:pt x="47984" y="961913"/>
                  <a:pt x="49256" y="966998"/>
                </a:cubicBezTo>
                <a:cubicBezTo>
                  <a:pt x="51798" y="978755"/>
                  <a:pt x="44489" y="990831"/>
                  <a:pt x="32731" y="993373"/>
                </a:cubicBezTo>
                <a:cubicBezTo>
                  <a:pt x="31142" y="993373"/>
                  <a:pt x="29553" y="993691"/>
                  <a:pt x="27964" y="993691"/>
                </a:cubicBezTo>
                <a:close/>
                <a:moveTo>
                  <a:pt x="21927" y="807473"/>
                </a:moveTo>
                <a:cubicBezTo>
                  <a:pt x="9851" y="807473"/>
                  <a:pt x="0" y="797622"/>
                  <a:pt x="0" y="785547"/>
                </a:cubicBezTo>
                <a:lnTo>
                  <a:pt x="0" y="768704"/>
                </a:lnTo>
                <a:cubicBezTo>
                  <a:pt x="0" y="756629"/>
                  <a:pt x="9851" y="746778"/>
                  <a:pt x="21927" y="746778"/>
                </a:cubicBezTo>
                <a:cubicBezTo>
                  <a:pt x="34002" y="746778"/>
                  <a:pt x="43853" y="756629"/>
                  <a:pt x="43853" y="768704"/>
                </a:cubicBezTo>
                <a:lnTo>
                  <a:pt x="43853" y="785547"/>
                </a:lnTo>
                <a:cubicBezTo>
                  <a:pt x="44171" y="797622"/>
                  <a:pt x="34320" y="807473"/>
                  <a:pt x="21927" y="807473"/>
                </a:cubicBezTo>
                <a:close/>
                <a:moveTo>
                  <a:pt x="21927" y="620620"/>
                </a:moveTo>
                <a:cubicBezTo>
                  <a:pt x="9851" y="620620"/>
                  <a:pt x="0" y="610769"/>
                  <a:pt x="0" y="598693"/>
                </a:cubicBezTo>
                <a:lnTo>
                  <a:pt x="0" y="581533"/>
                </a:lnTo>
                <a:cubicBezTo>
                  <a:pt x="0" y="569458"/>
                  <a:pt x="9851" y="559606"/>
                  <a:pt x="21927" y="559606"/>
                </a:cubicBezTo>
                <a:cubicBezTo>
                  <a:pt x="34002" y="559606"/>
                  <a:pt x="43853" y="569458"/>
                  <a:pt x="43853" y="581533"/>
                </a:cubicBezTo>
                <a:lnTo>
                  <a:pt x="43853" y="598375"/>
                </a:lnTo>
                <a:cubicBezTo>
                  <a:pt x="44171" y="610769"/>
                  <a:pt x="34320" y="620620"/>
                  <a:pt x="21927" y="620620"/>
                </a:cubicBezTo>
                <a:close/>
                <a:moveTo>
                  <a:pt x="21927" y="434084"/>
                </a:moveTo>
                <a:cubicBezTo>
                  <a:pt x="9851" y="434084"/>
                  <a:pt x="0" y="424233"/>
                  <a:pt x="0" y="412158"/>
                </a:cubicBezTo>
                <a:lnTo>
                  <a:pt x="0" y="395316"/>
                </a:lnTo>
                <a:cubicBezTo>
                  <a:pt x="0" y="383240"/>
                  <a:pt x="9851" y="373389"/>
                  <a:pt x="21927" y="373389"/>
                </a:cubicBezTo>
                <a:cubicBezTo>
                  <a:pt x="34002" y="373389"/>
                  <a:pt x="43853" y="383240"/>
                  <a:pt x="43853" y="395316"/>
                </a:cubicBezTo>
                <a:lnTo>
                  <a:pt x="43853" y="412158"/>
                </a:lnTo>
                <a:cubicBezTo>
                  <a:pt x="44171" y="424233"/>
                  <a:pt x="34320" y="434084"/>
                  <a:pt x="21927" y="434084"/>
                </a:cubicBezTo>
                <a:close/>
                <a:moveTo>
                  <a:pt x="21927" y="247231"/>
                </a:moveTo>
                <a:cubicBezTo>
                  <a:pt x="9851" y="247231"/>
                  <a:pt x="0" y="237380"/>
                  <a:pt x="0" y="225304"/>
                </a:cubicBezTo>
                <a:lnTo>
                  <a:pt x="0" y="208462"/>
                </a:lnTo>
                <a:cubicBezTo>
                  <a:pt x="0" y="196387"/>
                  <a:pt x="9851" y="186536"/>
                  <a:pt x="21927" y="186536"/>
                </a:cubicBezTo>
                <a:cubicBezTo>
                  <a:pt x="34002" y="186536"/>
                  <a:pt x="43853" y="196387"/>
                  <a:pt x="43853" y="208462"/>
                </a:cubicBezTo>
                <a:lnTo>
                  <a:pt x="43853" y="225304"/>
                </a:lnTo>
                <a:cubicBezTo>
                  <a:pt x="44171" y="237380"/>
                  <a:pt x="34320" y="247231"/>
                  <a:pt x="21927" y="247231"/>
                </a:cubicBezTo>
                <a:close/>
                <a:moveTo>
                  <a:pt x="21927" y="60696"/>
                </a:moveTo>
                <a:cubicBezTo>
                  <a:pt x="9851" y="60696"/>
                  <a:pt x="0" y="50844"/>
                  <a:pt x="0" y="38769"/>
                </a:cubicBezTo>
                <a:lnTo>
                  <a:pt x="0" y="21927"/>
                </a:lnTo>
                <a:cubicBezTo>
                  <a:pt x="0" y="9851"/>
                  <a:pt x="9851" y="0"/>
                  <a:pt x="21927" y="0"/>
                </a:cubicBezTo>
                <a:cubicBezTo>
                  <a:pt x="34002" y="0"/>
                  <a:pt x="43853" y="9851"/>
                  <a:pt x="43853" y="21927"/>
                </a:cubicBezTo>
                <a:lnTo>
                  <a:pt x="43853" y="38769"/>
                </a:lnTo>
                <a:cubicBezTo>
                  <a:pt x="44171" y="50844"/>
                  <a:pt x="34320" y="60696"/>
                  <a:pt x="21927" y="60696"/>
                </a:cubicBezTo>
                <a:close/>
              </a:path>
            </a:pathLst>
          </a:custGeom>
          <a:solidFill>
            <a:srgbClr val="002060"/>
          </a:solidFill>
          <a:ln w="317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D486944D-9C5E-EACE-E20B-6448176D5A6D}"/>
              </a:ext>
            </a:extLst>
          </p:cNvPr>
          <p:cNvSpPr/>
          <p:nvPr/>
        </p:nvSpPr>
        <p:spPr>
          <a:xfrm>
            <a:off x="751351" y="962109"/>
            <a:ext cx="977261" cy="977386"/>
          </a:xfrm>
          <a:custGeom>
            <a:avLst/>
            <a:gdLst>
              <a:gd name="connsiteX0" fmla="*/ 2236202 w 2491377"/>
              <a:gd name="connsiteY0" fmla="*/ 2491695 h 2491694"/>
              <a:gd name="connsiteX1" fmla="*/ 1245689 w 2491377"/>
              <a:gd name="connsiteY1" fmla="*/ 2491695 h 2491694"/>
              <a:gd name="connsiteX2" fmla="*/ 1225351 w 2491377"/>
              <a:gd name="connsiteY2" fmla="*/ 2471357 h 2491694"/>
              <a:gd name="connsiteX3" fmla="*/ 1245689 w 2491377"/>
              <a:gd name="connsiteY3" fmla="*/ 2451020 h 2491694"/>
              <a:gd name="connsiteX4" fmla="*/ 2236520 w 2491377"/>
              <a:gd name="connsiteY4" fmla="*/ 2451020 h 2491694"/>
              <a:gd name="connsiteX5" fmla="*/ 2450702 w 2491377"/>
              <a:gd name="connsiteY5" fmla="*/ 2236837 h 2491694"/>
              <a:gd name="connsiteX6" fmla="*/ 2450702 w 2491377"/>
              <a:gd name="connsiteY6" fmla="*/ 255176 h 2491694"/>
              <a:gd name="connsiteX7" fmla="*/ 2236520 w 2491377"/>
              <a:gd name="connsiteY7" fmla="*/ 40993 h 2491694"/>
              <a:gd name="connsiteX8" fmla="*/ 254858 w 2491377"/>
              <a:gd name="connsiteY8" fmla="*/ 40993 h 2491694"/>
              <a:gd name="connsiteX9" fmla="*/ 40676 w 2491377"/>
              <a:gd name="connsiteY9" fmla="*/ 255176 h 2491694"/>
              <a:gd name="connsiteX10" fmla="*/ 40676 w 2491377"/>
              <a:gd name="connsiteY10" fmla="*/ 1246006 h 2491694"/>
              <a:gd name="connsiteX11" fmla="*/ 20338 w 2491377"/>
              <a:gd name="connsiteY11" fmla="*/ 1266344 h 2491694"/>
              <a:gd name="connsiteX12" fmla="*/ 0 w 2491377"/>
              <a:gd name="connsiteY12" fmla="*/ 1246006 h 2491694"/>
              <a:gd name="connsiteX13" fmla="*/ 0 w 2491377"/>
              <a:gd name="connsiteY13" fmla="*/ 255176 h 2491694"/>
              <a:gd name="connsiteX14" fmla="*/ 254858 w 2491377"/>
              <a:gd name="connsiteY14" fmla="*/ 0 h 2491694"/>
              <a:gd name="connsiteX15" fmla="*/ 2236202 w 2491377"/>
              <a:gd name="connsiteY15" fmla="*/ 0 h 2491694"/>
              <a:gd name="connsiteX16" fmla="*/ 2491378 w 2491377"/>
              <a:gd name="connsiteY16" fmla="*/ 255176 h 2491694"/>
              <a:gd name="connsiteX17" fmla="*/ 2491378 w 2491377"/>
              <a:gd name="connsiteY17" fmla="*/ 2236520 h 2491694"/>
              <a:gd name="connsiteX18" fmla="*/ 2236202 w 2491377"/>
              <a:gd name="connsiteY18" fmla="*/ 2491695 h 2491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491377" h="2491694">
                <a:moveTo>
                  <a:pt x="2236202" y="2491695"/>
                </a:moveTo>
                <a:lnTo>
                  <a:pt x="1245689" y="2491695"/>
                </a:lnTo>
                <a:cubicBezTo>
                  <a:pt x="1234567" y="2491695"/>
                  <a:pt x="1225351" y="2482480"/>
                  <a:pt x="1225351" y="2471357"/>
                </a:cubicBezTo>
                <a:cubicBezTo>
                  <a:pt x="1225351" y="2460235"/>
                  <a:pt x="1234567" y="2451020"/>
                  <a:pt x="1245689" y="2451020"/>
                </a:cubicBezTo>
                <a:lnTo>
                  <a:pt x="2236520" y="2451020"/>
                </a:lnTo>
                <a:cubicBezTo>
                  <a:pt x="2354733" y="2451020"/>
                  <a:pt x="2450702" y="2355051"/>
                  <a:pt x="2450702" y="2236837"/>
                </a:cubicBezTo>
                <a:lnTo>
                  <a:pt x="2450702" y="255176"/>
                </a:lnTo>
                <a:cubicBezTo>
                  <a:pt x="2450702" y="136962"/>
                  <a:pt x="2354733" y="40993"/>
                  <a:pt x="2236520" y="40993"/>
                </a:cubicBezTo>
                <a:lnTo>
                  <a:pt x="254858" y="40993"/>
                </a:lnTo>
                <a:cubicBezTo>
                  <a:pt x="136644" y="40993"/>
                  <a:pt x="40676" y="136962"/>
                  <a:pt x="40676" y="255176"/>
                </a:cubicBezTo>
                <a:lnTo>
                  <a:pt x="40676" y="1246006"/>
                </a:lnTo>
                <a:cubicBezTo>
                  <a:pt x="40676" y="1257129"/>
                  <a:pt x="31460" y="1266344"/>
                  <a:pt x="20338" y="1266344"/>
                </a:cubicBezTo>
                <a:cubicBezTo>
                  <a:pt x="9216" y="1266344"/>
                  <a:pt x="0" y="1257129"/>
                  <a:pt x="0" y="1246006"/>
                </a:cubicBezTo>
                <a:lnTo>
                  <a:pt x="0" y="255176"/>
                </a:lnTo>
                <a:cubicBezTo>
                  <a:pt x="0" y="114400"/>
                  <a:pt x="114400" y="0"/>
                  <a:pt x="254858" y="0"/>
                </a:cubicBezTo>
                <a:lnTo>
                  <a:pt x="2236202" y="0"/>
                </a:lnTo>
                <a:cubicBezTo>
                  <a:pt x="2376978" y="0"/>
                  <a:pt x="2491378" y="114400"/>
                  <a:pt x="2491378" y="255176"/>
                </a:cubicBezTo>
                <a:lnTo>
                  <a:pt x="2491378" y="2236520"/>
                </a:lnTo>
                <a:cubicBezTo>
                  <a:pt x="2491378" y="2377295"/>
                  <a:pt x="2376978" y="2491695"/>
                  <a:pt x="2236202" y="2491695"/>
                </a:cubicBezTo>
                <a:close/>
              </a:path>
            </a:pathLst>
          </a:custGeom>
          <a:solidFill>
            <a:srgbClr val="002060"/>
          </a:solidFill>
          <a:ln w="317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C1B73D1-8D41-D914-0072-3CEBC617A304}"/>
              </a:ext>
            </a:extLst>
          </p:cNvPr>
          <p:cNvSpPr txBox="1"/>
          <p:nvPr/>
        </p:nvSpPr>
        <p:spPr>
          <a:xfrm>
            <a:off x="267607" y="2092438"/>
            <a:ext cx="1944000" cy="32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Don Stein 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A86B89F7-1641-A7D4-D751-648C0B0A28CD}"/>
              </a:ext>
            </a:extLst>
          </p:cNvPr>
          <p:cNvSpPr/>
          <p:nvPr/>
        </p:nvSpPr>
        <p:spPr>
          <a:xfrm>
            <a:off x="840680" y="2631510"/>
            <a:ext cx="820077" cy="820077"/>
          </a:xfrm>
          <a:custGeom>
            <a:avLst/>
            <a:gdLst>
              <a:gd name="connsiteX0" fmla="*/ 1871076 w 2090660"/>
              <a:gd name="connsiteY0" fmla="*/ 2090660 h 2090659"/>
              <a:gd name="connsiteX1" fmla="*/ 219584 w 2090660"/>
              <a:gd name="connsiteY1" fmla="*/ 2090660 h 2090659"/>
              <a:gd name="connsiteX2" fmla="*/ 0 w 2090660"/>
              <a:gd name="connsiteY2" fmla="*/ 1871075 h 2090659"/>
              <a:gd name="connsiteX3" fmla="*/ 0 w 2090660"/>
              <a:gd name="connsiteY3" fmla="*/ 219584 h 2090659"/>
              <a:gd name="connsiteX4" fmla="*/ 219584 w 2090660"/>
              <a:gd name="connsiteY4" fmla="*/ 0 h 2090659"/>
              <a:gd name="connsiteX5" fmla="*/ 1871076 w 2090660"/>
              <a:gd name="connsiteY5" fmla="*/ 0 h 2090659"/>
              <a:gd name="connsiteX6" fmla="*/ 2090660 w 2090660"/>
              <a:gd name="connsiteY6" fmla="*/ 219584 h 2090659"/>
              <a:gd name="connsiteX7" fmla="*/ 2090660 w 2090660"/>
              <a:gd name="connsiteY7" fmla="*/ 1871075 h 2090659"/>
              <a:gd name="connsiteX8" fmla="*/ 1871076 w 2090660"/>
              <a:gd name="connsiteY8" fmla="*/ 2090660 h 2090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90660" h="2090659">
                <a:moveTo>
                  <a:pt x="1871076" y="2090660"/>
                </a:moveTo>
                <a:lnTo>
                  <a:pt x="219584" y="2090660"/>
                </a:lnTo>
                <a:cubicBezTo>
                  <a:pt x="98193" y="2090660"/>
                  <a:pt x="0" y="1992149"/>
                  <a:pt x="0" y="1871075"/>
                </a:cubicBezTo>
                <a:lnTo>
                  <a:pt x="0" y="219584"/>
                </a:lnTo>
                <a:cubicBezTo>
                  <a:pt x="0" y="98193"/>
                  <a:pt x="98511" y="0"/>
                  <a:pt x="219584" y="0"/>
                </a:cubicBezTo>
                <a:lnTo>
                  <a:pt x="1871076" y="0"/>
                </a:lnTo>
                <a:cubicBezTo>
                  <a:pt x="1992467" y="0"/>
                  <a:pt x="2090660" y="98511"/>
                  <a:pt x="2090660" y="219584"/>
                </a:cubicBezTo>
                <a:lnTo>
                  <a:pt x="2090660" y="1871075"/>
                </a:lnTo>
                <a:cubicBezTo>
                  <a:pt x="2090660" y="1992466"/>
                  <a:pt x="1992467" y="2090660"/>
                  <a:pt x="1871076" y="2090660"/>
                </a:cubicBezTo>
                <a:close/>
              </a:path>
            </a:pathLst>
          </a:custGeom>
          <a:solidFill>
            <a:schemeClr val="bg1"/>
          </a:solidFill>
          <a:ln w="3178" cap="flat">
            <a:noFill/>
            <a:prstDash val="solid"/>
            <a:miter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17F2662D-D9DA-EBEA-11EF-1FFD6EA9338B}"/>
              </a:ext>
            </a:extLst>
          </p:cNvPr>
          <p:cNvSpPr/>
          <p:nvPr/>
        </p:nvSpPr>
        <p:spPr>
          <a:xfrm>
            <a:off x="750603" y="3069533"/>
            <a:ext cx="497979" cy="461332"/>
          </a:xfrm>
          <a:custGeom>
            <a:avLst/>
            <a:gdLst>
              <a:gd name="connsiteX0" fmla="*/ 1247596 w 1269522"/>
              <a:gd name="connsiteY0" fmla="*/ 1176095 h 1176095"/>
              <a:gd name="connsiteX1" fmla="*/ 1230753 w 1269522"/>
              <a:gd name="connsiteY1" fmla="*/ 1176095 h 1176095"/>
              <a:gd name="connsiteX2" fmla="*/ 1208827 w 1269522"/>
              <a:gd name="connsiteY2" fmla="*/ 1154169 h 1176095"/>
              <a:gd name="connsiteX3" fmla="*/ 1230753 w 1269522"/>
              <a:gd name="connsiteY3" fmla="*/ 1132242 h 1176095"/>
              <a:gd name="connsiteX4" fmla="*/ 1247596 w 1269522"/>
              <a:gd name="connsiteY4" fmla="*/ 1132242 h 1176095"/>
              <a:gd name="connsiteX5" fmla="*/ 1269522 w 1269522"/>
              <a:gd name="connsiteY5" fmla="*/ 1154169 h 1176095"/>
              <a:gd name="connsiteX6" fmla="*/ 1247596 w 1269522"/>
              <a:gd name="connsiteY6" fmla="*/ 1176095 h 1176095"/>
              <a:gd name="connsiteX7" fmla="*/ 1060742 w 1269522"/>
              <a:gd name="connsiteY7" fmla="*/ 1176095 h 1176095"/>
              <a:gd name="connsiteX8" fmla="*/ 1043900 w 1269522"/>
              <a:gd name="connsiteY8" fmla="*/ 1176095 h 1176095"/>
              <a:gd name="connsiteX9" fmla="*/ 1021973 w 1269522"/>
              <a:gd name="connsiteY9" fmla="*/ 1154169 h 1176095"/>
              <a:gd name="connsiteX10" fmla="*/ 1043900 w 1269522"/>
              <a:gd name="connsiteY10" fmla="*/ 1132242 h 1176095"/>
              <a:gd name="connsiteX11" fmla="*/ 1060742 w 1269522"/>
              <a:gd name="connsiteY11" fmla="*/ 1132242 h 1176095"/>
              <a:gd name="connsiteX12" fmla="*/ 1082669 w 1269522"/>
              <a:gd name="connsiteY12" fmla="*/ 1154169 h 1176095"/>
              <a:gd name="connsiteX13" fmla="*/ 1060742 w 1269522"/>
              <a:gd name="connsiteY13" fmla="*/ 1176095 h 1176095"/>
              <a:gd name="connsiteX14" fmla="*/ 874207 w 1269522"/>
              <a:gd name="connsiteY14" fmla="*/ 1176095 h 1176095"/>
              <a:gd name="connsiteX15" fmla="*/ 857364 w 1269522"/>
              <a:gd name="connsiteY15" fmla="*/ 1176095 h 1176095"/>
              <a:gd name="connsiteX16" fmla="*/ 835438 w 1269522"/>
              <a:gd name="connsiteY16" fmla="*/ 1154169 h 1176095"/>
              <a:gd name="connsiteX17" fmla="*/ 857364 w 1269522"/>
              <a:gd name="connsiteY17" fmla="*/ 1132242 h 1176095"/>
              <a:gd name="connsiteX18" fmla="*/ 874207 w 1269522"/>
              <a:gd name="connsiteY18" fmla="*/ 1132242 h 1176095"/>
              <a:gd name="connsiteX19" fmla="*/ 896133 w 1269522"/>
              <a:gd name="connsiteY19" fmla="*/ 1154169 h 1176095"/>
              <a:gd name="connsiteX20" fmla="*/ 874207 w 1269522"/>
              <a:gd name="connsiteY20" fmla="*/ 1176095 h 1176095"/>
              <a:gd name="connsiteX21" fmla="*/ 687353 w 1269522"/>
              <a:gd name="connsiteY21" fmla="*/ 1176095 h 1176095"/>
              <a:gd name="connsiteX22" fmla="*/ 670511 w 1269522"/>
              <a:gd name="connsiteY22" fmla="*/ 1176095 h 1176095"/>
              <a:gd name="connsiteX23" fmla="*/ 648584 w 1269522"/>
              <a:gd name="connsiteY23" fmla="*/ 1154169 h 1176095"/>
              <a:gd name="connsiteX24" fmla="*/ 670511 w 1269522"/>
              <a:gd name="connsiteY24" fmla="*/ 1132242 h 1176095"/>
              <a:gd name="connsiteX25" fmla="*/ 687353 w 1269522"/>
              <a:gd name="connsiteY25" fmla="*/ 1132242 h 1176095"/>
              <a:gd name="connsiteX26" fmla="*/ 709280 w 1269522"/>
              <a:gd name="connsiteY26" fmla="*/ 1154169 h 1176095"/>
              <a:gd name="connsiteX27" fmla="*/ 687353 w 1269522"/>
              <a:gd name="connsiteY27" fmla="*/ 1176095 h 1176095"/>
              <a:gd name="connsiteX28" fmla="*/ 500818 w 1269522"/>
              <a:gd name="connsiteY28" fmla="*/ 1176095 h 1176095"/>
              <a:gd name="connsiteX29" fmla="*/ 483976 w 1269522"/>
              <a:gd name="connsiteY29" fmla="*/ 1176095 h 1176095"/>
              <a:gd name="connsiteX30" fmla="*/ 462049 w 1269522"/>
              <a:gd name="connsiteY30" fmla="*/ 1154169 h 1176095"/>
              <a:gd name="connsiteX31" fmla="*/ 483976 w 1269522"/>
              <a:gd name="connsiteY31" fmla="*/ 1132242 h 1176095"/>
              <a:gd name="connsiteX32" fmla="*/ 500818 w 1269522"/>
              <a:gd name="connsiteY32" fmla="*/ 1132242 h 1176095"/>
              <a:gd name="connsiteX33" fmla="*/ 522744 w 1269522"/>
              <a:gd name="connsiteY33" fmla="*/ 1154169 h 1176095"/>
              <a:gd name="connsiteX34" fmla="*/ 500818 w 1269522"/>
              <a:gd name="connsiteY34" fmla="*/ 1176095 h 1176095"/>
              <a:gd name="connsiteX35" fmla="*/ 313964 w 1269522"/>
              <a:gd name="connsiteY35" fmla="*/ 1176095 h 1176095"/>
              <a:gd name="connsiteX36" fmla="*/ 297122 w 1269522"/>
              <a:gd name="connsiteY36" fmla="*/ 1176095 h 1176095"/>
              <a:gd name="connsiteX37" fmla="*/ 275196 w 1269522"/>
              <a:gd name="connsiteY37" fmla="*/ 1154169 h 1176095"/>
              <a:gd name="connsiteX38" fmla="*/ 297122 w 1269522"/>
              <a:gd name="connsiteY38" fmla="*/ 1132242 h 1176095"/>
              <a:gd name="connsiteX39" fmla="*/ 313964 w 1269522"/>
              <a:gd name="connsiteY39" fmla="*/ 1132242 h 1176095"/>
              <a:gd name="connsiteX40" fmla="*/ 335891 w 1269522"/>
              <a:gd name="connsiteY40" fmla="*/ 1154169 h 1176095"/>
              <a:gd name="connsiteX41" fmla="*/ 313964 w 1269522"/>
              <a:gd name="connsiteY41" fmla="*/ 1176095 h 1176095"/>
              <a:gd name="connsiteX42" fmla="*/ 133784 w 1269522"/>
              <a:gd name="connsiteY42" fmla="*/ 1141458 h 1176095"/>
              <a:gd name="connsiteX43" fmla="*/ 122344 w 1269522"/>
              <a:gd name="connsiteY43" fmla="*/ 1138280 h 1176095"/>
              <a:gd name="connsiteX44" fmla="*/ 106773 w 1269522"/>
              <a:gd name="connsiteY44" fmla="*/ 1128111 h 1176095"/>
              <a:gd name="connsiteX45" fmla="*/ 101689 w 1269522"/>
              <a:gd name="connsiteY45" fmla="*/ 1097286 h 1176095"/>
              <a:gd name="connsiteX46" fmla="*/ 132513 w 1269522"/>
              <a:gd name="connsiteY46" fmla="*/ 1092202 h 1176095"/>
              <a:gd name="connsiteX47" fmla="*/ 145224 w 1269522"/>
              <a:gd name="connsiteY47" fmla="*/ 1100782 h 1176095"/>
              <a:gd name="connsiteX48" fmla="*/ 152533 w 1269522"/>
              <a:gd name="connsiteY48" fmla="*/ 1131289 h 1176095"/>
              <a:gd name="connsiteX49" fmla="*/ 133784 w 1269522"/>
              <a:gd name="connsiteY49" fmla="*/ 1141458 h 1176095"/>
              <a:gd name="connsiteX50" fmla="*/ 27964 w 1269522"/>
              <a:gd name="connsiteY50" fmla="*/ 993691 h 1176095"/>
              <a:gd name="connsiteX51" fmla="*/ 6356 w 1269522"/>
              <a:gd name="connsiteY51" fmla="*/ 976531 h 1176095"/>
              <a:gd name="connsiteX52" fmla="*/ 2860 w 1269522"/>
              <a:gd name="connsiteY52" fmla="*/ 958418 h 1176095"/>
              <a:gd name="connsiteX53" fmla="*/ 21291 w 1269522"/>
              <a:gd name="connsiteY53" fmla="*/ 933313 h 1176095"/>
              <a:gd name="connsiteX54" fmla="*/ 46396 w 1269522"/>
              <a:gd name="connsiteY54" fmla="*/ 951744 h 1176095"/>
              <a:gd name="connsiteX55" fmla="*/ 49256 w 1269522"/>
              <a:gd name="connsiteY55" fmla="*/ 966998 h 1176095"/>
              <a:gd name="connsiteX56" fmla="*/ 32731 w 1269522"/>
              <a:gd name="connsiteY56" fmla="*/ 993373 h 1176095"/>
              <a:gd name="connsiteX57" fmla="*/ 27964 w 1269522"/>
              <a:gd name="connsiteY57" fmla="*/ 993691 h 1176095"/>
              <a:gd name="connsiteX58" fmla="*/ 21927 w 1269522"/>
              <a:gd name="connsiteY58" fmla="*/ 807473 h 1176095"/>
              <a:gd name="connsiteX59" fmla="*/ 0 w 1269522"/>
              <a:gd name="connsiteY59" fmla="*/ 785547 h 1176095"/>
              <a:gd name="connsiteX60" fmla="*/ 0 w 1269522"/>
              <a:gd name="connsiteY60" fmla="*/ 768704 h 1176095"/>
              <a:gd name="connsiteX61" fmla="*/ 21927 w 1269522"/>
              <a:gd name="connsiteY61" fmla="*/ 746778 h 1176095"/>
              <a:gd name="connsiteX62" fmla="*/ 43853 w 1269522"/>
              <a:gd name="connsiteY62" fmla="*/ 768704 h 1176095"/>
              <a:gd name="connsiteX63" fmla="*/ 43853 w 1269522"/>
              <a:gd name="connsiteY63" fmla="*/ 785547 h 1176095"/>
              <a:gd name="connsiteX64" fmla="*/ 21927 w 1269522"/>
              <a:gd name="connsiteY64" fmla="*/ 807473 h 1176095"/>
              <a:gd name="connsiteX65" fmla="*/ 21927 w 1269522"/>
              <a:gd name="connsiteY65" fmla="*/ 620620 h 1176095"/>
              <a:gd name="connsiteX66" fmla="*/ 0 w 1269522"/>
              <a:gd name="connsiteY66" fmla="*/ 598693 h 1176095"/>
              <a:gd name="connsiteX67" fmla="*/ 0 w 1269522"/>
              <a:gd name="connsiteY67" fmla="*/ 581533 h 1176095"/>
              <a:gd name="connsiteX68" fmla="*/ 21927 w 1269522"/>
              <a:gd name="connsiteY68" fmla="*/ 559606 h 1176095"/>
              <a:gd name="connsiteX69" fmla="*/ 43853 w 1269522"/>
              <a:gd name="connsiteY69" fmla="*/ 581533 h 1176095"/>
              <a:gd name="connsiteX70" fmla="*/ 43853 w 1269522"/>
              <a:gd name="connsiteY70" fmla="*/ 598375 h 1176095"/>
              <a:gd name="connsiteX71" fmla="*/ 21927 w 1269522"/>
              <a:gd name="connsiteY71" fmla="*/ 620620 h 1176095"/>
              <a:gd name="connsiteX72" fmla="*/ 21927 w 1269522"/>
              <a:gd name="connsiteY72" fmla="*/ 434084 h 1176095"/>
              <a:gd name="connsiteX73" fmla="*/ 0 w 1269522"/>
              <a:gd name="connsiteY73" fmla="*/ 412158 h 1176095"/>
              <a:gd name="connsiteX74" fmla="*/ 0 w 1269522"/>
              <a:gd name="connsiteY74" fmla="*/ 395316 h 1176095"/>
              <a:gd name="connsiteX75" fmla="*/ 21927 w 1269522"/>
              <a:gd name="connsiteY75" fmla="*/ 373389 h 1176095"/>
              <a:gd name="connsiteX76" fmla="*/ 43853 w 1269522"/>
              <a:gd name="connsiteY76" fmla="*/ 395316 h 1176095"/>
              <a:gd name="connsiteX77" fmla="*/ 43853 w 1269522"/>
              <a:gd name="connsiteY77" fmla="*/ 412158 h 1176095"/>
              <a:gd name="connsiteX78" fmla="*/ 21927 w 1269522"/>
              <a:gd name="connsiteY78" fmla="*/ 434084 h 1176095"/>
              <a:gd name="connsiteX79" fmla="*/ 21927 w 1269522"/>
              <a:gd name="connsiteY79" fmla="*/ 247231 h 1176095"/>
              <a:gd name="connsiteX80" fmla="*/ 0 w 1269522"/>
              <a:gd name="connsiteY80" fmla="*/ 225304 h 1176095"/>
              <a:gd name="connsiteX81" fmla="*/ 0 w 1269522"/>
              <a:gd name="connsiteY81" fmla="*/ 208462 h 1176095"/>
              <a:gd name="connsiteX82" fmla="*/ 21927 w 1269522"/>
              <a:gd name="connsiteY82" fmla="*/ 186536 h 1176095"/>
              <a:gd name="connsiteX83" fmla="*/ 43853 w 1269522"/>
              <a:gd name="connsiteY83" fmla="*/ 208462 h 1176095"/>
              <a:gd name="connsiteX84" fmla="*/ 43853 w 1269522"/>
              <a:gd name="connsiteY84" fmla="*/ 225304 h 1176095"/>
              <a:gd name="connsiteX85" fmla="*/ 21927 w 1269522"/>
              <a:gd name="connsiteY85" fmla="*/ 247231 h 1176095"/>
              <a:gd name="connsiteX86" fmla="*/ 21927 w 1269522"/>
              <a:gd name="connsiteY86" fmla="*/ 60696 h 1176095"/>
              <a:gd name="connsiteX87" fmla="*/ 0 w 1269522"/>
              <a:gd name="connsiteY87" fmla="*/ 38769 h 1176095"/>
              <a:gd name="connsiteX88" fmla="*/ 0 w 1269522"/>
              <a:gd name="connsiteY88" fmla="*/ 21927 h 1176095"/>
              <a:gd name="connsiteX89" fmla="*/ 21927 w 1269522"/>
              <a:gd name="connsiteY89" fmla="*/ 0 h 1176095"/>
              <a:gd name="connsiteX90" fmla="*/ 43853 w 1269522"/>
              <a:gd name="connsiteY90" fmla="*/ 21927 h 1176095"/>
              <a:gd name="connsiteX91" fmla="*/ 43853 w 1269522"/>
              <a:gd name="connsiteY91" fmla="*/ 38769 h 1176095"/>
              <a:gd name="connsiteX92" fmla="*/ 21927 w 1269522"/>
              <a:gd name="connsiteY92" fmla="*/ 60696 h 1176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</a:cxnLst>
            <a:rect l="l" t="t" r="r" b="b"/>
            <a:pathLst>
              <a:path w="1269522" h="1176095">
                <a:moveTo>
                  <a:pt x="1247596" y="1176095"/>
                </a:moveTo>
                <a:lnTo>
                  <a:pt x="1230753" y="1176095"/>
                </a:lnTo>
                <a:cubicBezTo>
                  <a:pt x="1218678" y="1176095"/>
                  <a:pt x="1208827" y="1166244"/>
                  <a:pt x="1208827" y="1154169"/>
                </a:cubicBezTo>
                <a:cubicBezTo>
                  <a:pt x="1208827" y="1142093"/>
                  <a:pt x="1218678" y="1132242"/>
                  <a:pt x="1230753" y="1132242"/>
                </a:cubicBezTo>
                <a:lnTo>
                  <a:pt x="1247596" y="1132242"/>
                </a:lnTo>
                <a:cubicBezTo>
                  <a:pt x="1259671" y="1132242"/>
                  <a:pt x="1269522" y="1142093"/>
                  <a:pt x="1269522" y="1154169"/>
                </a:cubicBezTo>
                <a:cubicBezTo>
                  <a:pt x="1269522" y="1166244"/>
                  <a:pt x="1259671" y="1176095"/>
                  <a:pt x="1247596" y="1176095"/>
                </a:cubicBezTo>
                <a:close/>
                <a:moveTo>
                  <a:pt x="1060742" y="1176095"/>
                </a:moveTo>
                <a:lnTo>
                  <a:pt x="1043900" y="1176095"/>
                </a:lnTo>
                <a:cubicBezTo>
                  <a:pt x="1031825" y="1176095"/>
                  <a:pt x="1021973" y="1166244"/>
                  <a:pt x="1021973" y="1154169"/>
                </a:cubicBezTo>
                <a:cubicBezTo>
                  <a:pt x="1021973" y="1142093"/>
                  <a:pt x="1031825" y="1132242"/>
                  <a:pt x="1043900" y="1132242"/>
                </a:cubicBezTo>
                <a:lnTo>
                  <a:pt x="1060742" y="1132242"/>
                </a:lnTo>
                <a:cubicBezTo>
                  <a:pt x="1072818" y="1132242"/>
                  <a:pt x="1082669" y="1142093"/>
                  <a:pt x="1082669" y="1154169"/>
                </a:cubicBezTo>
                <a:cubicBezTo>
                  <a:pt x="1082669" y="1166244"/>
                  <a:pt x="1072818" y="1176095"/>
                  <a:pt x="1060742" y="1176095"/>
                </a:cubicBezTo>
                <a:close/>
                <a:moveTo>
                  <a:pt x="874207" y="1176095"/>
                </a:moveTo>
                <a:lnTo>
                  <a:pt x="857364" y="1176095"/>
                </a:lnTo>
                <a:cubicBezTo>
                  <a:pt x="845289" y="1176095"/>
                  <a:pt x="835438" y="1166244"/>
                  <a:pt x="835438" y="1154169"/>
                </a:cubicBezTo>
                <a:cubicBezTo>
                  <a:pt x="835438" y="1142093"/>
                  <a:pt x="845289" y="1132242"/>
                  <a:pt x="857364" y="1132242"/>
                </a:cubicBezTo>
                <a:lnTo>
                  <a:pt x="874207" y="1132242"/>
                </a:lnTo>
                <a:cubicBezTo>
                  <a:pt x="886282" y="1132242"/>
                  <a:pt x="896133" y="1142093"/>
                  <a:pt x="896133" y="1154169"/>
                </a:cubicBezTo>
                <a:cubicBezTo>
                  <a:pt x="896133" y="1166244"/>
                  <a:pt x="886282" y="1176095"/>
                  <a:pt x="874207" y="1176095"/>
                </a:cubicBezTo>
                <a:close/>
                <a:moveTo>
                  <a:pt x="687353" y="1176095"/>
                </a:moveTo>
                <a:lnTo>
                  <a:pt x="670511" y="1176095"/>
                </a:lnTo>
                <a:cubicBezTo>
                  <a:pt x="658436" y="1176095"/>
                  <a:pt x="648584" y="1166244"/>
                  <a:pt x="648584" y="1154169"/>
                </a:cubicBezTo>
                <a:cubicBezTo>
                  <a:pt x="648584" y="1142093"/>
                  <a:pt x="658436" y="1132242"/>
                  <a:pt x="670511" y="1132242"/>
                </a:cubicBezTo>
                <a:lnTo>
                  <a:pt x="687353" y="1132242"/>
                </a:lnTo>
                <a:cubicBezTo>
                  <a:pt x="699429" y="1132242"/>
                  <a:pt x="709280" y="1142093"/>
                  <a:pt x="709280" y="1154169"/>
                </a:cubicBezTo>
                <a:cubicBezTo>
                  <a:pt x="709280" y="1166244"/>
                  <a:pt x="699429" y="1176095"/>
                  <a:pt x="687353" y="1176095"/>
                </a:cubicBezTo>
                <a:close/>
                <a:moveTo>
                  <a:pt x="500818" y="1176095"/>
                </a:moveTo>
                <a:lnTo>
                  <a:pt x="483976" y="1176095"/>
                </a:lnTo>
                <a:cubicBezTo>
                  <a:pt x="471900" y="1176095"/>
                  <a:pt x="462049" y="1166244"/>
                  <a:pt x="462049" y="1154169"/>
                </a:cubicBezTo>
                <a:cubicBezTo>
                  <a:pt x="462049" y="1142093"/>
                  <a:pt x="471900" y="1132242"/>
                  <a:pt x="483976" y="1132242"/>
                </a:cubicBezTo>
                <a:lnTo>
                  <a:pt x="500818" y="1132242"/>
                </a:lnTo>
                <a:cubicBezTo>
                  <a:pt x="512893" y="1132242"/>
                  <a:pt x="522744" y="1142093"/>
                  <a:pt x="522744" y="1154169"/>
                </a:cubicBezTo>
                <a:cubicBezTo>
                  <a:pt x="522744" y="1166244"/>
                  <a:pt x="512893" y="1176095"/>
                  <a:pt x="500818" y="1176095"/>
                </a:cubicBezTo>
                <a:close/>
                <a:moveTo>
                  <a:pt x="313964" y="1176095"/>
                </a:moveTo>
                <a:lnTo>
                  <a:pt x="297122" y="1176095"/>
                </a:lnTo>
                <a:cubicBezTo>
                  <a:pt x="285047" y="1176095"/>
                  <a:pt x="275196" y="1166244"/>
                  <a:pt x="275196" y="1154169"/>
                </a:cubicBezTo>
                <a:cubicBezTo>
                  <a:pt x="275196" y="1142093"/>
                  <a:pt x="285047" y="1132242"/>
                  <a:pt x="297122" y="1132242"/>
                </a:cubicBezTo>
                <a:lnTo>
                  <a:pt x="313964" y="1132242"/>
                </a:lnTo>
                <a:cubicBezTo>
                  <a:pt x="326040" y="1132242"/>
                  <a:pt x="335891" y="1142093"/>
                  <a:pt x="335891" y="1154169"/>
                </a:cubicBezTo>
                <a:cubicBezTo>
                  <a:pt x="335891" y="1166244"/>
                  <a:pt x="326040" y="1176095"/>
                  <a:pt x="313964" y="1176095"/>
                </a:cubicBezTo>
                <a:close/>
                <a:moveTo>
                  <a:pt x="133784" y="1141458"/>
                </a:moveTo>
                <a:cubicBezTo>
                  <a:pt x="129971" y="1141458"/>
                  <a:pt x="125840" y="1140504"/>
                  <a:pt x="122344" y="1138280"/>
                </a:cubicBezTo>
                <a:cubicBezTo>
                  <a:pt x="116942" y="1135102"/>
                  <a:pt x="111858" y="1131606"/>
                  <a:pt x="106773" y="1128111"/>
                </a:cubicBezTo>
                <a:cubicBezTo>
                  <a:pt x="96922" y="1121120"/>
                  <a:pt x="94698" y="1107138"/>
                  <a:pt x="101689" y="1097286"/>
                </a:cubicBezTo>
                <a:cubicBezTo>
                  <a:pt x="108680" y="1087435"/>
                  <a:pt x="122662" y="1085211"/>
                  <a:pt x="132513" y="1092202"/>
                </a:cubicBezTo>
                <a:cubicBezTo>
                  <a:pt x="136644" y="1095062"/>
                  <a:pt x="141093" y="1097922"/>
                  <a:pt x="145224" y="1100782"/>
                </a:cubicBezTo>
                <a:cubicBezTo>
                  <a:pt x="155711" y="1107138"/>
                  <a:pt x="158889" y="1120802"/>
                  <a:pt x="152533" y="1131289"/>
                </a:cubicBezTo>
                <a:cubicBezTo>
                  <a:pt x="148402" y="1137644"/>
                  <a:pt x="141093" y="1141458"/>
                  <a:pt x="133784" y="1141458"/>
                </a:cubicBezTo>
                <a:close/>
                <a:moveTo>
                  <a:pt x="27964" y="993691"/>
                </a:moveTo>
                <a:cubicBezTo>
                  <a:pt x="17796" y="993691"/>
                  <a:pt x="8898" y="986700"/>
                  <a:pt x="6356" y="976531"/>
                </a:cubicBezTo>
                <a:cubicBezTo>
                  <a:pt x="5084" y="970493"/>
                  <a:pt x="3813" y="964455"/>
                  <a:pt x="2860" y="958418"/>
                </a:cubicBezTo>
                <a:cubicBezTo>
                  <a:pt x="953" y="946342"/>
                  <a:pt x="9216" y="935220"/>
                  <a:pt x="21291" y="933313"/>
                </a:cubicBezTo>
                <a:cubicBezTo>
                  <a:pt x="33367" y="931406"/>
                  <a:pt x="44489" y="939669"/>
                  <a:pt x="46396" y="951744"/>
                </a:cubicBezTo>
                <a:cubicBezTo>
                  <a:pt x="47031" y="956829"/>
                  <a:pt x="47984" y="961913"/>
                  <a:pt x="49256" y="966998"/>
                </a:cubicBezTo>
                <a:cubicBezTo>
                  <a:pt x="51798" y="978755"/>
                  <a:pt x="44489" y="990831"/>
                  <a:pt x="32731" y="993373"/>
                </a:cubicBezTo>
                <a:cubicBezTo>
                  <a:pt x="31142" y="993373"/>
                  <a:pt x="29553" y="993691"/>
                  <a:pt x="27964" y="993691"/>
                </a:cubicBezTo>
                <a:close/>
                <a:moveTo>
                  <a:pt x="21927" y="807473"/>
                </a:moveTo>
                <a:cubicBezTo>
                  <a:pt x="9851" y="807473"/>
                  <a:pt x="0" y="797622"/>
                  <a:pt x="0" y="785547"/>
                </a:cubicBezTo>
                <a:lnTo>
                  <a:pt x="0" y="768704"/>
                </a:lnTo>
                <a:cubicBezTo>
                  <a:pt x="0" y="756629"/>
                  <a:pt x="9851" y="746778"/>
                  <a:pt x="21927" y="746778"/>
                </a:cubicBezTo>
                <a:cubicBezTo>
                  <a:pt x="34002" y="746778"/>
                  <a:pt x="43853" y="756629"/>
                  <a:pt x="43853" y="768704"/>
                </a:cubicBezTo>
                <a:lnTo>
                  <a:pt x="43853" y="785547"/>
                </a:lnTo>
                <a:cubicBezTo>
                  <a:pt x="44171" y="797622"/>
                  <a:pt x="34320" y="807473"/>
                  <a:pt x="21927" y="807473"/>
                </a:cubicBezTo>
                <a:close/>
                <a:moveTo>
                  <a:pt x="21927" y="620620"/>
                </a:moveTo>
                <a:cubicBezTo>
                  <a:pt x="9851" y="620620"/>
                  <a:pt x="0" y="610769"/>
                  <a:pt x="0" y="598693"/>
                </a:cubicBezTo>
                <a:lnTo>
                  <a:pt x="0" y="581533"/>
                </a:lnTo>
                <a:cubicBezTo>
                  <a:pt x="0" y="569458"/>
                  <a:pt x="9851" y="559606"/>
                  <a:pt x="21927" y="559606"/>
                </a:cubicBezTo>
                <a:cubicBezTo>
                  <a:pt x="34002" y="559606"/>
                  <a:pt x="43853" y="569458"/>
                  <a:pt x="43853" y="581533"/>
                </a:cubicBezTo>
                <a:lnTo>
                  <a:pt x="43853" y="598375"/>
                </a:lnTo>
                <a:cubicBezTo>
                  <a:pt x="44171" y="610769"/>
                  <a:pt x="34320" y="620620"/>
                  <a:pt x="21927" y="620620"/>
                </a:cubicBezTo>
                <a:close/>
                <a:moveTo>
                  <a:pt x="21927" y="434084"/>
                </a:moveTo>
                <a:cubicBezTo>
                  <a:pt x="9851" y="434084"/>
                  <a:pt x="0" y="424233"/>
                  <a:pt x="0" y="412158"/>
                </a:cubicBezTo>
                <a:lnTo>
                  <a:pt x="0" y="395316"/>
                </a:lnTo>
                <a:cubicBezTo>
                  <a:pt x="0" y="383240"/>
                  <a:pt x="9851" y="373389"/>
                  <a:pt x="21927" y="373389"/>
                </a:cubicBezTo>
                <a:cubicBezTo>
                  <a:pt x="34002" y="373389"/>
                  <a:pt x="43853" y="383240"/>
                  <a:pt x="43853" y="395316"/>
                </a:cubicBezTo>
                <a:lnTo>
                  <a:pt x="43853" y="412158"/>
                </a:lnTo>
                <a:cubicBezTo>
                  <a:pt x="44171" y="424233"/>
                  <a:pt x="34320" y="434084"/>
                  <a:pt x="21927" y="434084"/>
                </a:cubicBezTo>
                <a:close/>
                <a:moveTo>
                  <a:pt x="21927" y="247231"/>
                </a:moveTo>
                <a:cubicBezTo>
                  <a:pt x="9851" y="247231"/>
                  <a:pt x="0" y="237380"/>
                  <a:pt x="0" y="225304"/>
                </a:cubicBezTo>
                <a:lnTo>
                  <a:pt x="0" y="208462"/>
                </a:lnTo>
                <a:cubicBezTo>
                  <a:pt x="0" y="196387"/>
                  <a:pt x="9851" y="186536"/>
                  <a:pt x="21927" y="186536"/>
                </a:cubicBezTo>
                <a:cubicBezTo>
                  <a:pt x="34002" y="186536"/>
                  <a:pt x="43853" y="196387"/>
                  <a:pt x="43853" y="208462"/>
                </a:cubicBezTo>
                <a:lnTo>
                  <a:pt x="43853" y="225304"/>
                </a:lnTo>
                <a:cubicBezTo>
                  <a:pt x="44171" y="237380"/>
                  <a:pt x="34320" y="247231"/>
                  <a:pt x="21927" y="247231"/>
                </a:cubicBezTo>
                <a:close/>
                <a:moveTo>
                  <a:pt x="21927" y="60696"/>
                </a:moveTo>
                <a:cubicBezTo>
                  <a:pt x="9851" y="60696"/>
                  <a:pt x="0" y="50844"/>
                  <a:pt x="0" y="38769"/>
                </a:cubicBezTo>
                <a:lnTo>
                  <a:pt x="0" y="21927"/>
                </a:lnTo>
                <a:cubicBezTo>
                  <a:pt x="0" y="9851"/>
                  <a:pt x="9851" y="0"/>
                  <a:pt x="21927" y="0"/>
                </a:cubicBezTo>
                <a:cubicBezTo>
                  <a:pt x="34002" y="0"/>
                  <a:pt x="43853" y="9851"/>
                  <a:pt x="43853" y="21927"/>
                </a:cubicBezTo>
                <a:lnTo>
                  <a:pt x="43853" y="38769"/>
                </a:lnTo>
                <a:cubicBezTo>
                  <a:pt x="44171" y="50844"/>
                  <a:pt x="34320" y="60696"/>
                  <a:pt x="21927" y="60696"/>
                </a:cubicBezTo>
                <a:close/>
              </a:path>
            </a:pathLst>
          </a:custGeom>
          <a:solidFill>
            <a:srgbClr val="002060"/>
          </a:solidFill>
          <a:ln w="317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AE89D083-8D99-4CED-D050-906AD52C4C28}"/>
              </a:ext>
            </a:extLst>
          </p:cNvPr>
          <p:cNvSpPr/>
          <p:nvPr/>
        </p:nvSpPr>
        <p:spPr>
          <a:xfrm>
            <a:off x="751351" y="2552855"/>
            <a:ext cx="977261" cy="977386"/>
          </a:xfrm>
          <a:custGeom>
            <a:avLst/>
            <a:gdLst>
              <a:gd name="connsiteX0" fmla="*/ 2236202 w 2491377"/>
              <a:gd name="connsiteY0" fmla="*/ 2491695 h 2491694"/>
              <a:gd name="connsiteX1" fmla="*/ 1245689 w 2491377"/>
              <a:gd name="connsiteY1" fmla="*/ 2491695 h 2491694"/>
              <a:gd name="connsiteX2" fmla="*/ 1225351 w 2491377"/>
              <a:gd name="connsiteY2" fmla="*/ 2471357 h 2491694"/>
              <a:gd name="connsiteX3" fmla="*/ 1245689 w 2491377"/>
              <a:gd name="connsiteY3" fmla="*/ 2451020 h 2491694"/>
              <a:gd name="connsiteX4" fmla="*/ 2236520 w 2491377"/>
              <a:gd name="connsiteY4" fmla="*/ 2451020 h 2491694"/>
              <a:gd name="connsiteX5" fmla="*/ 2450702 w 2491377"/>
              <a:gd name="connsiteY5" fmla="*/ 2236837 h 2491694"/>
              <a:gd name="connsiteX6" fmla="*/ 2450702 w 2491377"/>
              <a:gd name="connsiteY6" fmla="*/ 255176 h 2491694"/>
              <a:gd name="connsiteX7" fmla="*/ 2236520 w 2491377"/>
              <a:gd name="connsiteY7" fmla="*/ 40993 h 2491694"/>
              <a:gd name="connsiteX8" fmla="*/ 254858 w 2491377"/>
              <a:gd name="connsiteY8" fmla="*/ 40993 h 2491694"/>
              <a:gd name="connsiteX9" fmla="*/ 40676 w 2491377"/>
              <a:gd name="connsiteY9" fmla="*/ 255176 h 2491694"/>
              <a:gd name="connsiteX10" fmla="*/ 40676 w 2491377"/>
              <a:gd name="connsiteY10" fmla="*/ 1246006 h 2491694"/>
              <a:gd name="connsiteX11" fmla="*/ 20338 w 2491377"/>
              <a:gd name="connsiteY11" fmla="*/ 1266344 h 2491694"/>
              <a:gd name="connsiteX12" fmla="*/ 0 w 2491377"/>
              <a:gd name="connsiteY12" fmla="*/ 1246006 h 2491694"/>
              <a:gd name="connsiteX13" fmla="*/ 0 w 2491377"/>
              <a:gd name="connsiteY13" fmla="*/ 255176 h 2491694"/>
              <a:gd name="connsiteX14" fmla="*/ 254858 w 2491377"/>
              <a:gd name="connsiteY14" fmla="*/ 0 h 2491694"/>
              <a:gd name="connsiteX15" fmla="*/ 2236202 w 2491377"/>
              <a:gd name="connsiteY15" fmla="*/ 0 h 2491694"/>
              <a:gd name="connsiteX16" fmla="*/ 2491378 w 2491377"/>
              <a:gd name="connsiteY16" fmla="*/ 255176 h 2491694"/>
              <a:gd name="connsiteX17" fmla="*/ 2491378 w 2491377"/>
              <a:gd name="connsiteY17" fmla="*/ 2236520 h 2491694"/>
              <a:gd name="connsiteX18" fmla="*/ 2236202 w 2491377"/>
              <a:gd name="connsiteY18" fmla="*/ 2491695 h 2491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491377" h="2491694">
                <a:moveTo>
                  <a:pt x="2236202" y="2491695"/>
                </a:moveTo>
                <a:lnTo>
                  <a:pt x="1245689" y="2491695"/>
                </a:lnTo>
                <a:cubicBezTo>
                  <a:pt x="1234567" y="2491695"/>
                  <a:pt x="1225351" y="2482480"/>
                  <a:pt x="1225351" y="2471357"/>
                </a:cubicBezTo>
                <a:cubicBezTo>
                  <a:pt x="1225351" y="2460235"/>
                  <a:pt x="1234567" y="2451020"/>
                  <a:pt x="1245689" y="2451020"/>
                </a:cubicBezTo>
                <a:lnTo>
                  <a:pt x="2236520" y="2451020"/>
                </a:lnTo>
                <a:cubicBezTo>
                  <a:pt x="2354733" y="2451020"/>
                  <a:pt x="2450702" y="2355051"/>
                  <a:pt x="2450702" y="2236837"/>
                </a:cubicBezTo>
                <a:lnTo>
                  <a:pt x="2450702" y="255176"/>
                </a:lnTo>
                <a:cubicBezTo>
                  <a:pt x="2450702" y="136962"/>
                  <a:pt x="2354733" y="40993"/>
                  <a:pt x="2236520" y="40993"/>
                </a:cubicBezTo>
                <a:lnTo>
                  <a:pt x="254858" y="40993"/>
                </a:lnTo>
                <a:cubicBezTo>
                  <a:pt x="136644" y="40993"/>
                  <a:pt x="40676" y="136962"/>
                  <a:pt x="40676" y="255176"/>
                </a:cubicBezTo>
                <a:lnTo>
                  <a:pt x="40676" y="1246006"/>
                </a:lnTo>
                <a:cubicBezTo>
                  <a:pt x="40676" y="1257129"/>
                  <a:pt x="31460" y="1266344"/>
                  <a:pt x="20338" y="1266344"/>
                </a:cubicBezTo>
                <a:cubicBezTo>
                  <a:pt x="9216" y="1266344"/>
                  <a:pt x="0" y="1257129"/>
                  <a:pt x="0" y="1246006"/>
                </a:cubicBezTo>
                <a:lnTo>
                  <a:pt x="0" y="255176"/>
                </a:lnTo>
                <a:cubicBezTo>
                  <a:pt x="0" y="114400"/>
                  <a:pt x="114400" y="0"/>
                  <a:pt x="254858" y="0"/>
                </a:cubicBezTo>
                <a:lnTo>
                  <a:pt x="2236202" y="0"/>
                </a:lnTo>
                <a:cubicBezTo>
                  <a:pt x="2376978" y="0"/>
                  <a:pt x="2491378" y="114400"/>
                  <a:pt x="2491378" y="255176"/>
                </a:cubicBezTo>
                <a:lnTo>
                  <a:pt x="2491378" y="2236520"/>
                </a:lnTo>
                <a:cubicBezTo>
                  <a:pt x="2491378" y="2377295"/>
                  <a:pt x="2376978" y="2491695"/>
                  <a:pt x="2236202" y="2491695"/>
                </a:cubicBezTo>
                <a:close/>
              </a:path>
            </a:pathLst>
          </a:custGeom>
          <a:solidFill>
            <a:srgbClr val="002060"/>
          </a:solidFill>
          <a:ln w="317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2DC3A0EC-6C13-6A7A-FC2B-406B853357B5}"/>
              </a:ext>
            </a:extLst>
          </p:cNvPr>
          <p:cNvSpPr txBox="1"/>
          <p:nvPr/>
        </p:nvSpPr>
        <p:spPr>
          <a:xfrm>
            <a:off x="267607" y="3683184"/>
            <a:ext cx="1944000" cy="32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Dennis Liotta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0ED05309-5A96-FF94-B217-BE5332EA8FFD}"/>
              </a:ext>
            </a:extLst>
          </p:cNvPr>
          <p:cNvSpPr txBox="1"/>
          <p:nvPr/>
        </p:nvSpPr>
        <p:spPr>
          <a:xfrm>
            <a:off x="267607" y="4149587"/>
            <a:ext cx="2052000" cy="469683"/>
          </a:xfrm>
          <a:prstGeom prst="rect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1500" b="1">
                <a:solidFill>
                  <a:schemeClr val="l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Emory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8D3C3D27-236C-EB67-2FD4-2E70F44C1C58}"/>
              </a:ext>
            </a:extLst>
          </p:cNvPr>
          <p:cNvSpPr txBox="1"/>
          <p:nvPr/>
        </p:nvSpPr>
        <p:spPr>
          <a:xfrm>
            <a:off x="2451917" y="4149587"/>
            <a:ext cx="2052000" cy="469683"/>
          </a:xfrm>
          <a:prstGeom prst="rect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1500" b="1">
                <a:solidFill>
                  <a:schemeClr val="l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HFHS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794B8AB6-ABC6-1021-D973-62EA1CBD7548}"/>
              </a:ext>
            </a:extLst>
          </p:cNvPr>
          <p:cNvSpPr txBox="1"/>
          <p:nvPr/>
        </p:nvSpPr>
        <p:spPr>
          <a:xfrm>
            <a:off x="4636227" y="4149587"/>
            <a:ext cx="2052000" cy="469683"/>
          </a:xfrm>
          <a:prstGeom prst="rect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1500" b="1">
                <a:solidFill>
                  <a:schemeClr val="l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SUNY Buffalo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EC45874F-E501-48FE-1C0F-FF507F3059E2}"/>
              </a:ext>
            </a:extLst>
          </p:cNvPr>
          <p:cNvSpPr txBox="1"/>
          <p:nvPr/>
        </p:nvSpPr>
        <p:spPr>
          <a:xfrm>
            <a:off x="6820538" y="4149587"/>
            <a:ext cx="2052000" cy="469683"/>
          </a:xfrm>
          <a:prstGeom prst="rect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1500" b="1">
                <a:solidFill>
                  <a:schemeClr val="l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Columbia University</a:t>
            </a:r>
          </a:p>
        </p:txBody>
      </p:sp>
      <p:sp>
        <p:nvSpPr>
          <p:cNvPr id="110" name="Freeform: Shape 109">
            <a:extLst>
              <a:ext uri="{FF2B5EF4-FFF2-40B4-BE49-F238E27FC236}">
                <a16:creationId xmlns:a16="http://schemas.microsoft.com/office/drawing/2014/main" id="{EBAC13CA-7A5D-8768-3F8A-D09C47AB043E}"/>
              </a:ext>
            </a:extLst>
          </p:cNvPr>
          <p:cNvSpPr/>
          <p:nvPr/>
        </p:nvSpPr>
        <p:spPr>
          <a:xfrm>
            <a:off x="3032191" y="1040764"/>
            <a:ext cx="820077" cy="820077"/>
          </a:xfrm>
          <a:custGeom>
            <a:avLst/>
            <a:gdLst>
              <a:gd name="connsiteX0" fmla="*/ 1871076 w 2090660"/>
              <a:gd name="connsiteY0" fmla="*/ 2090660 h 2090659"/>
              <a:gd name="connsiteX1" fmla="*/ 219584 w 2090660"/>
              <a:gd name="connsiteY1" fmla="*/ 2090660 h 2090659"/>
              <a:gd name="connsiteX2" fmla="*/ 0 w 2090660"/>
              <a:gd name="connsiteY2" fmla="*/ 1871075 h 2090659"/>
              <a:gd name="connsiteX3" fmla="*/ 0 w 2090660"/>
              <a:gd name="connsiteY3" fmla="*/ 219584 h 2090659"/>
              <a:gd name="connsiteX4" fmla="*/ 219584 w 2090660"/>
              <a:gd name="connsiteY4" fmla="*/ 0 h 2090659"/>
              <a:gd name="connsiteX5" fmla="*/ 1871076 w 2090660"/>
              <a:gd name="connsiteY5" fmla="*/ 0 h 2090659"/>
              <a:gd name="connsiteX6" fmla="*/ 2090660 w 2090660"/>
              <a:gd name="connsiteY6" fmla="*/ 219584 h 2090659"/>
              <a:gd name="connsiteX7" fmla="*/ 2090660 w 2090660"/>
              <a:gd name="connsiteY7" fmla="*/ 1871075 h 2090659"/>
              <a:gd name="connsiteX8" fmla="*/ 1871076 w 2090660"/>
              <a:gd name="connsiteY8" fmla="*/ 2090660 h 2090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90660" h="2090659">
                <a:moveTo>
                  <a:pt x="1871076" y="2090660"/>
                </a:moveTo>
                <a:lnTo>
                  <a:pt x="219584" y="2090660"/>
                </a:lnTo>
                <a:cubicBezTo>
                  <a:pt x="98193" y="2090660"/>
                  <a:pt x="0" y="1992149"/>
                  <a:pt x="0" y="1871075"/>
                </a:cubicBezTo>
                <a:lnTo>
                  <a:pt x="0" y="219584"/>
                </a:lnTo>
                <a:cubicBezTo>
                  <a:pt x="0" y="98193"/>
                  <a:pt x="98511" y="0"/>
                  <a:pt x="219584" y="0"/>
                </a:cubicBezTo>
                <a:lnTo>
                  <a:pt x="1871076" y="0"/>
                </a:lnTo>
                <a:cubicBezTo>
                  <a:pt x="1992467" y="0"/>
                  <a:pt x="2090660" y="98511"/>
                  <a:pt x="2090660" y="219584"/>
                </a:cubicBezTo>
                <a:lnTo>
                  <a:pt x="2090660" y="1871075"/>
                </a:lnTo>
                <a:cubicBezTo>
                  <a:pt x="2090660" y="1992466"/>
                  <a:pt x="1992467" y="2090660"/>
                  <a:pt x="1871076" y="2090660"/>
                </a:cubicBezTo>
                <a:close/>
              </a:path>
            </a:pathLst>
          </a:custGeom>
          <a:solidFill>
            <a:schemeClr val="bg1"/>
          </a:solidFill>
          <a:ln w="3178" cap="flat">
            <a:noFill/>
            <a:prstDash val="solid"/>
            <a:miter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11" name="Freeform: Shape 110">
            <a:extLst>
              <a:ext uri="{FF2B5EF4-FFF2-40B4-BE49-F238E27FC236}">
                <a16:creationId xmlns:a16="http://schemas.microsoft.com/office/drawing/2014/main" id="{F7A0E0FE-BBC4-1481-BB9A-7EBC68B90ACE}"/>
              </a:ext>
            </a:extLst>
          </p:cNvPr>
          <p:cNvSpPr/>
          <p:nvPr/>
        </p:nvSpPr>
        <p:spPr>
          <a:xfrm>
            <a:off x="2952913" y="1478787"/>
            <a:ext cx="497979" cy="461332"/>
          </a:xfrm>
          <a:custGeom>
            <a:avLst/>
            <a:gdLst>
              <a:gd name="connsiteX0" fmla="*/ 1247596 w 1269522"/>
              <a:gd name="connsiteY0" fmla="*/ 1176095 h 1176095"/>
              <a:gd name="connsiteX1" fmla="*/ 1230753 w 1269522"/>
              <a:gd name="connsiteY1" fmla="*/ 1176095 h 1176095"/>
              <a:gd name="connsiteX2" fmla="*/ 1208827 w 1269522"/>
              <a:gd name="connsiteY2" fmla="*/ 1154169 h 1176095"/>
              <a:gd name="connsiteX3" fmla="*/ 1230753 w 1269522"/>
              <a:gd name="connsiteY3" fmla="*/ 1132242 h 1176095"/>
              <a:gd name="connsiteX4" fmla="*/ 1247596 w 1269522"/>
              <a:gd name="connsiteY4" fmla="*/ 1132242 h 1176095"/>
              <a:gd name="connsiteX5" fmla="*/ 1269522 w 1269522"/>
              <a:gd name="connsiteY5" fmla="*/ 1154169 h 1176095"/>
              <a:gd name="connsiteX6" fmla="*/ 1247596 w 1269522"/>
              <a:gd name="connsiteY6" fmla="*/ 1176095 h 1176095"/>
              <a:gd name="connsiteX7" fmla="*/ 1060742 w 1269522"/>
              <a:gd name="connsiteY7" fmla="*/ 1176095 h 1176095"/>
              <a:gd name="connsiteX8" fmla="*/ 1043900 w 1269522"/>
              <a:gd name="connsiteY8" fmla="*/ 1176095 h 1176095"/>
              <a:gd name="connsiteX9" fmla="*/ 1021973 w 1269522"/>
              <a:gd name="connsiteY9" fmla="*/ 1154169 h 1176095"/>
              <a:gd name="connsiteX10" fmla="*/ 1043900 w 1269522"/>
              <a:gd name="connsiteY10" fmla="*/ 1132242 h 1176095"/>
              <a:gd name="connsiteX11" fmla="*/ 1060742 w 1269522"/>
              <a:gd name="connsiteY11" fmla="*/ 1132242 h 1176095"/>
              <a:gd name="connsiteX12" fmla="*/ 1082669 w 1269522"/>
              <a:gd name="connsiteY12" fmla="*/ 1154169 h 1176095"/>
              <a:gd name="connsiteX13" fmla="*/ 1060742 w 1269522"/>
              <a:gd name="connsiteY13" fmla="*/ 1176095 h 1176095"/>
              <a:gd name="connsiteX14" fmla="*/ 874207 w 1269522"/>
              <a:gd name="connsiteY14" fmla="*/ 1176095 h 1176095"/>
              <a:gd name="connsiteX15" fmla="*/ 857364 w 1269522"/>
              <a:gd name="connsiteY15" fmla="*/ 1176095 h 1176095"/>
              <a:gd name="connsiteX16" fmla="*/ 835438 w 1269522"/>
              <a:gd name="connsiteY16" fmla="*/ 1154169 h 1176095"/>
              <a:gd name="connsiteX17" fmla="*/ 857364 w 1269522"/>
              <a:gd name="connsiteY17" fmla="*/ 1132242 h 1176095"/>
              <a:gd name="connsiteX18" fmla="*/ 874207 w 1269522"/>
              <a:gd name="connsiteY18" fmla="*/ 1132242 h 1176095"/>
              <a:gd name="connsiteX19" fmla="*/ 896133 w 1269522"/>
              <a:gd name="connsiteY19" fmla="*/ 1154169 h 1176095"/>
              <a:gd name="connsiteX20" fmla="*/ 874207 w 1269522"/>
              <a:gd name="connsiteY20" fmla="*/ 1176095 h 1176095"/>
              <a:gd name="connsiteX21" fmla="*/ 687353 w 1269522"/>
              <a:gd name="connsiteY21" fmla="*/ 1176095 h 1176095"/>
              <a:gd name="connsiteX22" fmla="*/ 670511 w 1269522"/>
              <a:gd name="connsiteY22" fmla="*/ 1176095 h 1176095"/>
              <a:gd name="connsiteX23" fmla="*/ 648584 w 1269522"/>
              <a:gd name="connsiteY23" fmla="*/ 1154169 h 1176095"/>
              <a:gd name="connsiteX24" fmla="*/ 670511 w 1269522"/>
              <a:gd name="connsiteY24" fmla="*/ 1132242 h 1176095"/>
              <a:gd name="connsiteX25" fmla="*/ 687353 w 1269522"/>
              <a:gd name="connsiteY25" fmla="*/ 1132242 h 1176095"/>
              <a:gd name="connsiteX26" fmla="*/ 709280 w 1269522"/>
              <a:gd name="connsiteY26" fmla="*/ 1154169 h 1176095"/>
              <a:gd name="connsiteX27" fmla="*/ 687353 w 1269522"/>
              <a:gd name="connsiteY27" fmla="*/ 1176095 h 1176095"/>
              <a:gd name="connsiteX28" fmla="*/ 500818 w 1269522"/>
              <a:gd name="connsiteY28" fmla="*/ 1176095 h 1176095"/>
              <a:gd name="connsiteX29" fmla="*/ 483976 w 1269522"/>
              <a:gd name="connsiteY29" fmla="*/ 1176095 h 1176095"/>
              <a:gd name="connsiteX30" fmla="*/ 462049 w 1269522"/>
              <a:gd name="connsiteY30" fmla="*/ 1154169 h 1176095"/>
              <a:gd name="connsiteX31" fmla="*/ 483976 w 1269522"/>
              <a:gd name="connsiteY31" fmla="*/ 1132242 h 1176095"/>
              <a:gd name="connsiteX32" fmla="*/ 500818 w 1269522"/>
              <a:gd name="connsiteY32" fmla="*/ 1132242 h 1176095"/>
              <a:gd name="connsiteX33" fmla="*/ 522744 w 1269522"/>
              <a:gd name="connsiteY33" fmla="*/ 1154169 h 1176095"/>
              <a:gd name="connsiteX34" fmla="*/ 500818 w 1269522"/>
              <a:gd name="connsiteY34" fmla="*/ 1176095 h 1176095"/>
              <a:gd name="connsiteX35" fmla="*/ 313964 w 1269522"/>
              <a:gd name="connsiteY35" fmla="*/ 1176095 h 1176095"/>
              <a:gd name="connsiteX36" fmla="*/ 297122 w 1269522"/>
              <a:gd name="connsiteY36" fmla="*/ 1176095 h 1176095"/>
              <a:gd name="connsiteX37" fmla="*/ 275196 w 1269522"/>
              <a:gd name="connsiteY37" fmla="*/ 1154169 h 1176095"/>
              <a:gd name="connsiteX38" fmla="*/ 297122 w 1269522"/>
              <a:gd name="connsiteY38" fmla="*/ 1132242 h 1176095"/>
              <a:gd name="connsiteX39" fmla="*/ 313964 w 1269522"/>
              <a:gd name="connsiteY39" fmla="*/ 1132242 h 1176095"/>
              <a:gd name="connsiteX40" fmla="*/ 335891 w 1269522"/>
              <a:gd name="connsiteY40" fmla="*/ 1154169 h 1176095"/>
              <a:gd name="connsiteX41" fmla="*/ 313964 w 1269522"/>
              <a:gd name="connsiteY41" fmla="*/ 1176095 h 1176095"/>
              <a:gd name="connsiteX42" fmla="*/ 133784 w 1269522"/>
              <a:gd name="connsiteY42" fmla="*/ 1141458 h 1176095"/>
              <a:gd name="connsiteX43" fmla="*/ 122344 w 1269522"/>
              <a:gd name="connsiteY43" fmla="*/ 1138280 h 1176095"/>
              <a:gd name="connsiteX44" fmla="*/ 106773 w 1269522"/>
              <a:gd name="connsiteY44" fmla="*/ 1128111 h 1176095"/>
              <a:gd name="connsiteX45" fmla="*/ 101689 w 1269522"/>
              <a:gd name="connsiteY45" fmla="*/ 1097286 h 1176095"/>
              <a:gd name="connsiteX46" fmla="*/ 132513 w 1269522"/>
              <a:gd name="connsiteY46" fmla="*/ 1092202 h 1176095"/>
              <a:gd name="connsiteX47" fmla="*/ 145224 w 1269522"/>
              <a:gd name="connsiteY47" fmla="*/ 1100782 h 1176095"/>
              <a:gd name="connsiteX48" fmla="*/ 152533 w 1269522"/>
              <a:gd name="connsiteY48" fmla="*/ 1131289 h 1176095"/>
              <a:gd name="connsiteX49" fmla="*/ 133784 w 1269522"/>
              <a:gd name="connsiteY49" fmla="*/ 1141458 h 1176095"/>
              <a:gd name="connsiteX50" fmla="*/ 27964 w 1269522"/>
              <a:gd name="connsiteY50" fmla="*/ 993691 h 1176095"/>
              <a:gd name="connsiteX51" fmla="*/ 6356 w 1269522"/>
              <a:gd name="connsiteY51" fmla="*/ 976531 h 1176095"/>
              <a:gd name="connsiteX52" fmla="*/ 2860 w 1269522"/>
              <a:gd name="connsiteY52" fmla="*/ 958418 h 1176095"/>
              <a:gd name="connsiteX53" fmla="*/ 21291 w 1269522"/>
              <a:gd name="connsiteY53" fmla="*/ 933313 h 1176095"/>
              <a:gd name="connsiteX54" fmla="*/ 46396 w 1269522"/>
              <a:gd name="connsiteY54" fmla="*/ 951744 h 1176095"/>
              <a:gd name="connsiteX55" fmla="*/ 49256 w 1269522"/>
              <a:gd name="connsiteY55" fmla="*/ 966998 h 1176095"/>
              <a:gd name="connsiteX56" fmla="*/ 32731 w 1269522"/>
              <a:gd name="connsiteY56" fmla="*/ 993373 h 1176095"/>
              <a:gd name="connsiteX57" fmla="*/ 27964 w 1269522"/>
              <a:gd name="connsiteY57" fmla="*/ 993691 h 1176095"/>
              <a:gd name="connsiteX58" fmla="*/ 21927 w 1269522"/>
              <a:gd name="connsiteY58" fmla="*/ 807473 h 1176095"/>
              <a:gd name="connsiteX59" fmla="*/ 0 w 1269522"/>
              <a:gd name="connsiteY59" fmla="*/ 785547 h 1176095"/>
              <a:gd name="connsiteX60" fmla="*/ 0 w 1269522"/>
              <a:gd name="connsiteY60" fmla="*/ 768704 h 1176095"/>
              <a:gd name="connsiteX61" fmla="*/ 21927 w 1269522"/>
              <a:gd name="connsiteY61" fmla="*/ 746778 h 1176095"/>
              <a:gd name="connsiteX62" fmla="*/ 43853 w 1269522"/>
              <a:gd name="connsiteY62" fmla="*/ 768704 h 1176095"/>
              <a:gd name="connsiteX63" fmla="*/ 43853 w 1269522"/>
              <a:gd name="connsiteY63" fmla="*/ 785547 h 1176095"/>
              <a:gd name="connsiteX64" fmla="*/ 21927 w 1269522"/>
              <a:gd name="connsiteY64" fmla="*/ 807473 h 1176095"/>
              <a:gd name="connsiteX65" fmla="*/ 21927 w 1269522"/>
              <a:gd name="connsiteY65" fmla="*/ 620620 h 1176095"/>
              <a:gd name="connsiteX66" fmla="*/ 0 w 1269522"/>
              <a:gd name="connsiteY66" fmla="*/ 598693 h 1176095"/>
              <a:gd name="connsiteX67" fmla="*/ 0 w 1269522"/>
              <a:gd name="connsiteY67" fmla="*/ 581533 h 1176095"/>
              <a:gd name="connsiteX68" fmla="*/ 21927 w 1269522"/>
              <a:gd name="connsiteY68" fmla="*/ 559606 h 1176095"/>
              <a:gd name="connsiteX69" fmla="*/ 43853 w 1269522"/>
              <a:gd name="connsiteY69" fmla="*/ 581533 h 1176095"/>
              <a:gd name="connsiteX70" fmla="*/ 43853 w 1269522"/>
              <a:gd name="connsiteY70" fmla="*/ 598375 h 1176095"/>
              <a:gd name="connsiteX71" fmla="*/ 21927 w 1269522"/>
              <a:gd name="connsiteY71" fmla="*/ 620620 h 1176095"/>
              <a:gd name="connsiteX72" fmla="*/ 21927 w 1269522"/>
              <a:gd name="connsiteY72" fmla="*/ 434084 h 1176095"/>
              <a:gd name="connsiteX73" fmla="*/ 0 w 1269522"/>
              <a:gd name="connsiteY73" fmla="*/ 412158 h 1176095"/>
              <a:gd name="connsiteX74" fmla="*/ 0 w 1269522"/>
              <a:gd name="connsiteY74" fmla="*/ 395316 h 1176095"/>
              <a:gd name="connsiteX75" fmla="*/ 21927 w 1269522"/>
              <a:gd name="connsiteY75" fmla="*/ 373389 h 1176095"/>
              <a:gd name="connsiteX76" fmla="*/ 43853 w 1269522"/>
              <a:gd name="connsiteY76" fmla="*/ 395316 h 1176095"/>
              <a:gd name="connsiteX77" fmla="*/ 43853 w 1269522"/>
              <a:gd name="connsiteY77" fmla="*/ 412158 h 1176095"/>
              <a:gd name="connsiteX78" fmla="*/ 21927 w 1269522"/>
              <a:gd name="connsiteY78" fmla="*/ 434084 h 1176095"/>
              <a:gd name="connsiteX79" fmla="*/ 21927 w 1269522"/>
              <a:gd name="connsiteY79" fmla="*/ 247231 h 1176095"/>
              <a:gd name="connsiteX80" fmla="*/ 0 w 1269522"/>
              <a:gd name="connsiteY80" fmla="*/ 225304 h 1176095"/>
              <a:gd name="connsiteX81" fmla="*/ 0 w 1269522"/>
              <a:gd name="connsiteY81" fmla="*/ 208462 h 1176095"/>
              <a:gd name="connsiteX82" fmla="*/ 21927 w 1269522"/>
              <a:gd name="connsiteY82" fmla="*/ 186536 h 1176095"/>
              <a:gd name="connsiteX83" fmla="*/ 43853 w 1269522"/>
              <a:gd name="connsiteY83" fmla="*/ 208462 h 1176095"/>
              <a:gd name="connsiteX84" fmla="*/ 43853 w 1269522"/>
              <a:gd name="connsiteY84" fmla="*/ 225304 h 1176095"/>
              <a:gd name="connsiteX85" fmla="*/ 21927 w 1269522"/>
              <a:gd name="connsiteY85" fmla="*/ 247231 h 1176095"/>
              <a:gd name="connsiteX86" fmla="*/ 21927 w 1269522"/>
              <a:gd name="connsiteY86" fmla="*/ 60696 h 1176095"/>
              <a:gd name="connsiteX87" fmla="*/ 0 w 1269522"/>
              <a:gd name="connsiteY87" fmla="*/ 38769 h 1176095"/>
              <a:gd name="connsiteX88" fmla="*/ 0 w 1269522"/>
              <a:gd name="connsiteY88" fmla="*/ 21927 h 1176095"/>
              <a:gd name="connsiteX89" fmla="*/ 21927 w 1269522"/>
              <a:gd name="connsiteY89" fmla="*/ 0 h 1176095"/>
              <a:gd name="connsiteX90" fmla="*/ 43853 w 1269522"/>
              <a:gd name="connsiteY90" fmla="*/ 21927 h 1176095"/>
              <a:gd name="connsiteX91" fmla="*/ 43853 w 1269522"/>
              <a:gd name="connsiteY91" fmla="*/ 38769 h 1176095"/>
              <a:gd name="connsiteX92" fmla="*/ 21927 w 1269522"/>
              <a:gd name="connsiteY92" fmla="*/ 60696 h 1176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</a:cxnLst>
            <a:rect l="l" t="t" r="r" b="b"/>
            <a:pathLst>
              <a:path w="1269522" h="1176095">
                <a:moveTo>
                  <a:pt x="1247596" y="1176095"/>
                </a:moveTo>
                <a:lnTo>
                  <a:pt x="1230753" y="1176095"/>
                </a:lnTo>
                <a:cubicBezTo>
                  <a:pt x="1218678" y="1176095"/>
                  <a:pt x="1208827" y="1166244"/>
                  <a:pt x="1208827" y="1154169"/>
                </a:cubicBezTo>
                <a:cubicBezTo>
                  <a:pt x="1208827" y="1142093"/>
                  <a:pt x="1218678" y="1132242"/>
                  <a:pt x="1230753" y="1132242"/>
                </a:cubicBezTo>
                <a:lnTo>
                  <a:pt x="1247596" y="1132242"/>
                </a:lnTo>
                <a:cubicBezTo>
                  <a:pt x="1259671" y="1132242"/>
                  <a:pt x="1269522" y="1142093"/>
                  <a:pt x="1269522" y="1154169"/>
                </a:cubicBezTo>
                <a:cubicBezTo>
                  <a:pt x="1269522" y="1166244"/>
                  <a:pt x="1259671" y="1176095"/>
                  <a:pt x="1247596" y="1176095"/>
                </a:cubicBezTo>
                <a:close/>
                <a:moveTo>
                  <a:pt x="1060742" y="1176095"/>
                </a:moveTo>
                <a:lnTo>
                  <a:pt x="1043900" y="1176095"/>
                </a:lnTo>
                <a:cubicBezTo>
                  <a:pt x="1031825" y="1176095"/>
                  <a:pt x="1021973" y="1166244"/>
                  <a:pt x="1021973" y="1154169"/>
                </a:cubicBezTo>
                <a:cubicBezTo>
                  <a:pt x="1021973" y="1142093"/>
                  <a:pt x="1031825" y="1132242"/>
                  <a:pt x="1043900" y="1132242"/>
                </a:cubicBezTo>
                <a:lnTo>
                  <a:pt x="1060742" y="1132242"/>
                </a:lnTo>
                <a:cubicBezTo>
                  <a:pt x="1072818" y="1132242"/>
                  <a:pt x="1082669" y="1142093"/>
                  <a:pt x="1082669" y="1154169"/>
                </a:cubicBezTo>
                <a:cubicBezTo>
                  <a:pt x="1082669" y="1166244"/>
                  <a:pt x="1072818" y="1176095"/>
                  <a:pt x="1060742" y="1176095"/>
                </a:cubicBezTo>
                <a:close/>
                <a:moveTo>
                  <a:pt x="874207" y="1176095"/>
                </a:moveTo>
                <a:lnTo>
                  <a:pt x="857364" y="1176095"/>
                </a:lnTo>
                <a:cubicBezTo>
                  <a:pt x="845289" y="1176095"/>
                  <a:pt x="835438" y="1166244"/>
                  <a:pt x="835438" y="1154169"/>
                </a:cubicBezTo>
                <a:cubicBezTo>
                  <a:pt x="835438" y="1142093"/>
                  <a:pt x="845289" y="1132242"/>
                  <a:pt x="857364" y="1132242"/>
                </a:cubicBezTo>
                <a:lnTo>
                  <a:pt x="874207" y="1132242"/>
                </a:lnTo>
                <a:cubicBezTo>
                  <a:pt x="886282" y="1132242"/>
                  <a:pt x="896133" y="1142093"/>
                  <a:pt x="896133" y="1154169"/>
                </a:cubicBezTo>
                <a:cubicBezTo>
                  <a:pt x="896133" y="1166244"/>
                  <a:pt x="886282" y="1176095"/>
                  <a:pt x="874207" y="1176095"/>
                </a:cubicBezTo>
                <a:close/>
                <a:moveTo>
                  <a:pt x="687353" y="1176095"/>
                </a:moveTo>
                <a:lnTo>
                  <a:pt x="670511" y="1176095"/>
                </a:lnTo>
                <a:cubicBezTo>
                  <a:pt x="658436" y="1176095"/>
                  <a:pt x="648584" y="1166244"/>
                  <a:pt x="648584" y="1154169"/>
                </a:cubicBezTo>
                <a:cubicBezTo>
                  <a:pt x="648584" y="1142093"/>
                  <a:pt x="658436" y="1132242"/>
                  <a:pt x="670511" y="1132242"/>
                </a:cubicBezTo>
                <a:lnTo>
                  <a:pt x="687353" y="1132242"/>
                </a:lnTo>
                <a:cubicBezTo>
                  <a:pt x="699429" y="1132242"/>
                  <a:pt x="709280" y="1142093"/>
                  <a:pt x="709280" y="1154169"/>
                </a:cubicBezTo>
                <a:cubicBezTo>
                  <a:pt x="709280" y="1166244"/>
                  <a:pt x="699429" y="1176095"/>
                  <a:pt x="687353" y="1176095"/>
                </a:cubicBezTo>
                <a:close/>
                <a:moveTo>
                  <a:pt x="500818" y="1176095"/>
                </a:moveTo>
                <a:lnTo>
                  <a:pt x="483976" y="1176095"/>
                </a:lnTo>
                <a:cubicBezTo>
                  <a:pt x="471900" y="1176095"/>
                  <a:pt x="462049" y="1166244"/>
                  <a:pt x="462049" y="1154169"/>
                </a:cubicBezTo>
                <a:cubicBezTo>
                  <a:pt x="462049" y="1142093"/>
                  <a:pt x="471900" y="1132242"/>
                  <a:pt x="483976" y="1132242"/>
                </a:cubicBezTo>
                <a:lnTo>
                  <a:pt x="500818" y="1132242"/>
                </a:lnTo>
                <a:cubicBezTo>
                  <a:pt x="512893" y="1132242"/>
                  <a:pt x="522744" y="1142093"/>
                  <a:pt x="522744" y="1154169"/>
                </a:cubicBezTo>
                <a:cubicBezTo>
                  <a:pt x="522744" y="1166244"/>
                  <a:pt x="512893" y="1176095"/>
                  <a:pt x="500818" y="1176095"/>
                </a:cubicBezTo>
                <a:close/>
                <a:moveTo>
                  <a:pt x="313964" y="1176095"/>
                </a:moveTo>
                <a:lnTo>
                  <a:pt x="297122" y="1176095"/>
                </a:lnTo>
                <a:cubicBezTo>
                  <a:pt x="285047" y="1176095"/>
                  <a:pt x="275196" y="1166244"/>
                  <a:pt x="275196" y="1154169"/>
                </a:cubicBezTo>
                <a:cubicBezTo>
                  <a:pt x="275196" y="1142093"/>
                  <a:pt x="285047" y="1132242"/>
                  <a:pt x="297122" y="1132242"/>
                </a:cubicBezTo>
                <a:lnTo>
                  <a:pt x="313964" y="1132242"/>
                </a:lnTo>
                <a:cubicBezTo>
                  <a:pt x="326040" y="1132242"/>
                  <a:pt x="335891" y="1142093"/>
                  <a:pt x="335891" y="1154169"/>
                </a:cubicBezTo>
                <a:cubicBezTo>
                  <a:pt x="335891" y="1166244"/>
                  <a:pt x="326040" y="1176095"/>
                  <a:pt x="313964" y="1176095"/>
                </a:cubicBezTo>
                <a:close/>
                <a:moveTo>
                  <a:pt x="133784" y="1141458"/>
                </a:moveTo>
                <a:cubicBezTo>
                  <a:pt x="129971" y="1141458"/>
                  <a:pt x="125840" y="1140504"/>
                  <a:pt x="122344" y="1138280"/>
                </a:cubicBezTo>
                <a:cubicBezTo>
                  <a:pt x="116942" y="1135102"/>
                  <a:pt x="111858" y="1131606"/>
                  <a:pt x="106773" y="1128111"/>
                </a:cubicBezTo>
                <a:cubicBezTo>
                  <a:pt x="96922" y="1121120"/>
                  <a:pt x="94698" y="1107138"/>
                  <a:pt x="101689" y="1097286"/>
                </a:cubicBezTo>
                <a:cubicBezTo>
                  <a:pt x="108680" y="1087435"/>
                  <a:pt x="122662" y="1085211"/>
                  <a:pt x="132513" y="1092202"/>
                </a:cubicBezTo>
                <a:cubicBezTo>
                  <a:pt x="136644" y="1095062"/>
                  <a:pt x="141093" y="1097922"/>
                  <a:pt x="145224" y="1100782"/>
                </a:cubicBezTo>
                <a:cubicBezTo>
                  <a:pt x="155711" y="1107138"/>
                  <a:pt x="158889" y="1120802"/>
                  <a:pt x="152533" y="1131289"/>
                </a:cubicBezTo>
                <a:cubicBezTo>
                  <a:pt x="148402" y="1137644"/>
                  <a:pt x="141093" y="1141458"/>
                  <a:pt x="133784" y="1141458"/>
                </a:cubicBezTo>
                <a:close/>
                <a:moveTo>
                  <a:pt x="27964" y="993691"/>
                </a:moveTo>
                <a:cubicBezTo>
                  <a:pt x="17796" y="993691"/>
                  <a:pt x="8898" y="986700"/>
                  <a:pt x="6356" y="976531"/>
                </a:cubicBezTo>
                <a:cubicBezTo>
                  <a:pt x="5084" y="970493"/>
                  <a:pt x="3813" y="964455"/>
                  <a:pt x="2860" y="958418"/>
                </a:cubicBezTo>
                <a:cubicBezTo>
                  <a:pt x="953" y="946342"/>
                  <a:pt x="9216" y="935220"/>
                  <a:pt x="21291" y="933313"/>
                </a:cubicBezTo>
                <a:cubicBezTo>
                  <a:pt x="33367" y="931406"/>
                  <a:pt x="44489" y="939669"/>
                  <a:pt x="46396" y="951744"/>
                </a:cubicBezTo>
                <a:cubicBezTo>
                  <a:pt x="47031" y="956829"/>
                  <a:pt x="47984" y="961913"/>
                  <a:pt x="49256" y="966998"/>
                </a:cubicBezTo>
                <a:cubicBezTo>
                  <a:pt x="51798" y="978755"/>
                  <a:pt x="44489" y="990831"/>
                  <a:pt x="32731" y="993373"/>
                </a:cubicBezTo>
                <a:cubicBezTo>
                  <a:pt x="31142" y="993373"/>
                  <a:pt x="29553" y="993691"/>
                  <a:pt x="27964" y="993691"/>
                </a:cubicBezTo>
                <a:close/>
                <a:moveTo>
                  <a:pt x="21927" y="807473"/>
                </a:moveTo>
                <a:cubicBezTo>
                  <a:pt x="9851" y="807473"/>
                  <a:pt x="0" y="797622"/>
                  <a:pt x="0" y="785547"/>
                </a:cubicBezTo>
                <a:lnTo>
                  <a:pt x="0" y="768704"/>
                </a:lnTo>
                <a:cubicBezTo>
                  <a:pt x="0" y="756629"/>
                  <a:pt x="9851" y="746778"/>
                  <a:pt x="21927" y="746778"/>
                </a:cubicBezTo>
                <a:cubicBezTo>
                  <a:pt x="34002" y="746778"/>
                  <a:pt x="43853" y="756629"/>
                  <a:pt x="43853" y="768704"/>
                </a:cubicBezTo>
                <a:lnTo>
                  <a:pt x="43853" y="785547"/>
                </a:lnTo>
                <a:cubicBezTo>
                  <a:pt x="44171" y="797622"/>
                  <a:pt x="34320" y="807473"/>
                  <a:pt x="21927" y="807473"/>
                </a:cubicBezTo>
                <a:close/>
                <a:moveTo>
                  <a:pt x="21927" y="620620"/>
                </a:moveTo>
                <a:cubicBezTo>
                  <a:pt x="9851" y="620620"/>
                  <a:pt x="0" y="610769"/>
                  <a:pt x="0" y="598693"/>
                </a:cubicBezTo>
                <a:lnTo>
                  <a:pt x="0" y="581533"/>
                </a:lnTo>
                <a:cubicBezTo>
                  <a:pt x="0" y="569458"/>
                  <a:pt x="9851" y="559606"/>
                  <a:pt x="21927" y="559606"/>
                </a:cubicBezTo>
                <a:cubicBezTo>
                  <a:pt x="34002" y="559606"/>
                  <a:pt x="43853" y="569458"/>
                  <a:pt x="43853" y="581533"/>
                </a:cubicBezTo>
                <a:lnTo>
                  <a:pt x="43853" y="598375"/>
                </a:lnTo>
                <a:cubicBezTo>
                  <a:pt x="44171" y="610769"/>
                  <a:pt x="34320" y="620620"/>
                  <a:pt x="21927" y="620620"/>
                </a:cubicBezTo>
                <a:close/>
                <a:moveTo>
                  <a:pt x="21927" y="434084"/>
                </a:moveTo>
                <a:cubicBezTo>
                  <a:pt x="9851" y="434084"/>
                  <a:pt x="0" y="424233"/>
                  <a:pt x="0" y="412158"/>
                </a:cubicBezTo>
                <a:lnTo>
                  <a:pt x="0" y="395316"/>
                </a:lnTo>
                <a:cubicBezTo>
                  <a:pt x="0" y="383240"/>
                  <a:pt x="9851" y="373389"/>
                  <a:pt x="21927" y="373389"/>
                </a:cubicBezTo>
                <a:cubicBezTo>
                  <a:pt x="34002" y="373389"/>
                  <a:pt x="43853" y="383240"/>
                  <a:pt x="43853" y="395316"/>
                </a:cubicBezTo>
                <a:lnTo>
                  <a:pt x="43853" y="412158"/>
                </a:lnTo>
                <a:cubicBezTo>
                  <a:pt x="44171" y="424233"/>
                  <a:pt x="34320" y="434084"/>
                  <a:pt x="21927" y="434084"/>
                </a:cubicBezTo>
                <a:close/>
                <a:moveTo>
                  <a:pt x="21927" y="247231"/>
                </a:moveTo>
                <a:cubicBezTo>
                  <a:pt x="9851" y="247231"/>
                  <a:pt x="0" y="237380"/>
                  <a:pt x="0" y="225304"/>
                </a:cubicBezTo>
                <a:lnTo>
                  <a:pt x="0" y="208462"/>
                </a:lnTo>
                <a:cubicBezTo>
                  <a:pt x="0" y="196387"/>
                  <a:pt x="9851" y="186536"/>
                  <a:pt x="21927" y="186536"/>
                </a:cubicBezTo>
                <a:cubicBezTo>
                  <a:pt x="34002" y="186536"/>
                  <a:pt x="43853" y="196387"/>
                  <a:pt x="43853" y="208462"/>
                </a:cubicBezTo>
                <a:lnTo>
                  <a:pt x="43853" y="225304"/>
                </a:lnTo>
                <a:cubicBezTo>
                  <a:pt x="44171" y="237380"/>
                  <a:pt x="34320" y="247231"/>
                  <a:pt x="21927" y="247231"/>
                </a:cubicBezTo>
                <a:close/>
                <a:moveTo>
                  <a:pt x="21927" y="60696"/>
                </a:moveTo>
                <a:cubicBezTo>
                  <a:pt x="9851" y="60696"/>
                  <a:pt x="0" y="50844"/>
                  <a:pt x="0" y="38769"/>
                </a:cubicBezTo>
                <a:lnTo>
                  <a:pt x="0" y="21927"/>
                </a:lnTo>
                <a:cubicBezTo>
                  <a:pt x="0" y="9851"/>
                  <a:pt x="9851" y="0"/>
                  <a:pt x="21927" y="0"/>
                </a:cubicBezTo>
                <a:cubicBezTo>
                  <a:pt x="34002" y="0"/>
                  <a:pt x="43853" y="9851"/>
                  <a:pt x="43853" y="21927"/>
                </a:cubicBezTo>
                <a:lnTo>
                  <a:pt x="43853" y="38769"/>
                </a:lnTo>
                <a:cubicBezTo>
                  <a:pt x="44171" y="50844"/>
                  <a:pt x="34320" y="60696"/>
                  <a:pt x="21927" y="60696"/>
                </a:cubicBezTo>
                <a:close/>
              </a:path>
            </a:pathLst>
          </a:custGeom>
          <a:solidFill>
            <a:srgbClr val="002060"/>
          </a:solidFill>
          <a:ln w="317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12" name="Freeform: Shape 111">
            <a:extLst>
              <a:ext uri="{FF2B5EF4-FFF2-40B4-BE49-F238E27FC236}">
                <a16:creationId xmlns:a16="http://schemas.microsoft.com/office/drawing/2014/main" id="{F2E8D8D1-5C17-1C04-5EBD-19B4C2882DD4}"/>
              </a:ext>
            </a:extLst>
          </p:cNvPr>
          <p:cNvSpPr/>
          <p:nvPr/>
        </p:nvSpPr>
        <p:spPr>
          <a:xfrm>
            <a:off x="2953661" y="962109"/>
            <a:ext cx="977261" cy="977386"/>
          </a:xfrm>
          <a:custGeom>
            <a:avLst/>
            <a:gdLst>
              <a:gd name="connsiteX0" fmla="*/ 2236202 w 2491377"/>
              <a:gd name="connsiteY0" fmla="*/ 2491695 h 2491694"/>
              <a:gd name="connsiteX1" fmla="*/ 1245689 w 2491377"/>
              <a:gd name="connsiteY1" fmla="*/ 2491695 h 2491694"/>
              <a:gd name="connsiteX2" fmla="*/ 1225351 w 2491377"/>
              <a:gd name="connsiteY2" fmla="*/ 2471357 h 2491694"/>
              <a:gd name="connsiteX3" fmla="*/ 1245689 w 2491377"/>
              <a:gd name="connsiteY3" fmla="*/ 2451020 h 2491694"/>
              <a:gd name="connsiteX4" fmla="*/ 2236520 w 2491377"/>
              <a:gd name="connsiteY4" fmla="*/ 2451020 h 2491694"/>
              <a:gd name="connsiteX5" fmla="*/ 2450702 w 2491377"/>
              <a:gd name="connsiteY5" fmla="*/ 2236837 h 2491694"/>
              <a:gd name="connsiteX6" fmla="*/ 2450702 w 2491377"/>
              <a:gd name="connsiteY6" fmla="*/ 255176 h 2491694"/>
              <a:gd name="connsiteX7" fmla="*/ 2236520 w 2491377"/>
              <a:gd name="connsiteY7" fmla="*/ 40993 h 2491694"/>
              <a:gd name="connsiteX8" fmla="*/ 254858 w 2491377"/>
              <a:gd name="connsiteY8" fmla="*/ 40993 h 2491694"/>
              <a:gd name="connsiteX9" fmla="*/ 40676 w 2491377"/>
              <a:gd name="connsiteY9" fmla="*/ 255176 h 2491694"/>
              <a:gd name="connsiteX10" fmla="*/ 40676 w 2491377"/>
              <a:gd name="connsiteY10" fmla="*/ 1246006 h 2491694"/>
              <a:gd name="connsiteX11" fmla="*/ 20338 w 2491377"/>
              <a:gd name="connsiteY11" fmla="*/ 1266344 h 2491694"/>
              <a:gd name="connsiteX12" fmla="*/ 0 w 2491377"/>
              <a:gd name="connsiteY12" fmla="*/ 1246006 h 2491694"/>
              <a:gd name="connsiteX13" fmla="*/ 0 w 2491377"/>
              <a:gd name="connsiteY13" fmla="*/ 255176 h 2491694"/>
              <a:gd name="connsiteX14" fmla="*/ 254858 w 2491377"/>
              <a:gd name="connsiteY14" fmla="*/ 0 h 2491694"/>
              <a:gd name="connsiteX15" fmla="*/ 2236202 w 2491377"/>
              <a:gd name="connsiteY15" fmla="*/ 0 h 2491694"/>
              <a:gd name="connsiteX16" fmla="*/ 2491378 w 2491377"/>
              <a:gd name="connsiteY16" fmla="*/ 255176 h 2491694"/>
              <a:gd name="connsiteX17" fmla="*/ 2491378 w 2491377"/>
              <a:gd name="connsiteY17" fmla="*/ 2236520 h 2491694"/>
              <a:gd name="connsiteX18" fmla="*/ 2236202 w 2491377"/>
              <a:gd name="connsiteY18" fmla="*/ 2491695 h 2491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491377" h="2491694">
                <a:moveTo>
                  <a:pt x="2236202" y="2491695"/>
                </a:moveTo>
                <a:lnTo>
                  <a:pt x="1245689" y="2491695"/>
                </a:lnTo>
                <a:cubicBezTo>
                  <a:pt x="1234567" y="2491695"/>
                  <a:pt x="1225351" y="2482480"/>
                  <a:pt x="1225351" y="2471357"/>
                </a:cubicBezTo>
                <a:cubicBezTo>
                  <a:pt x="1225351" y="2460235"/>
                  <a:pt x="1234567" y="2451020"/>
                  <a:pt x="1245689" y="2451020"/>
                </a:cubicBezTo>
                <a:lnTo>
                  <a:pt x="2236520" y="2451020"/>
                </a:lnTo>
                <a:cubicBezTo>
                  <a:pt x="2354733" y="2451020"/>
                  <a:pt x="2450702" y="2355051"/>
                  <a:pt x="2450702" y="2236837"/>
                </a:cubicBezTo>
                <a:lnTo>
                  <a:pt x="2450702" y="255176"/>
                </a:lnTo>
                <a:cubicBezTo>
                  <a:pt x="2450702" y="136962"/>
                  <a:pt x="2354733" y="40993"/>
                  <a:pt x="2236520" y="40993"/>
                </a:cubicBezTo>
                <a:lnTo>
                  <a:pt x="254858" y="40993"/>
                </a:lnTo>
                <a:cubicBezTo>
                  <a:pt x="136644" y="40993"/>
                  <a:pt x="40676" y="136962"/>
                  <a:pt x="40676" y="255176"/>
                </a:cubicBezTo>
                <a:lnTo>
                  <a:pt x="40676" y="1246006"/>
                </a:lnTo>
                <a:cubicBezTo>
                  <a:pt x="40676" y="1257129"/>
                  <a:pt x="31460" y="1266344"/>
                  <a:pt x="20338" y="1266344"/>
                </a:cubicBezTo>
                <a:cubicBezTo>
                  <a:pt x="9216" y="1266344"/>
                  <a:pt x="0" y="1257129"/>
                  <a:pt x="0" y="1246006"/>
                </a:cubicBezTo>
                <a:lnTo>
                  <a:pt x="0" y="255176"/>
                </a:lnTo>
                <a:cubicBezTo>
                  <a:pt x="0" y="114400"/>
                  <a:pt x="114400" y="0"/>
                  <a:pt x="254858" y="0"/>
                </a:cubicBezTo>
                <a:lnTo>
                  <a:pt x="2236202" y="0"/>
                </a:lnTo>
                <a:cubicBezTo>
                  <a:pt x="2376978" y="0"/>
                  <a:pt x="2491378" y="114400"/>
                  <a:pt x="2491378" y="255176"/>
                </a:cubicBezTo>
                <a:lnTo>
                  <a:pt x="2491378" y="2236520"/>
                </a:lnTo>
                <a:cubicBezTo>
                  <a:pt x="2491378" y="2377295"/>
                  <a:pt x="2376978" y="2491695"/>
                  <a:pt x="2236202" y="2491695"/>
                </a:cubicBezTo>
                <a:close/>
              </a:path>
            </a:pathLst>
          </a:custGeom>
          <a:solidFill>
            <a:srgbClr val="002060"/>
          </a:solidFill>
          <a:ln w="317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5E50BE5B-2898-15A3-4C7D-1C59E3200D39}"/>
              </a:ext>
            </a:extLst>
          </p:cNvPr>
          <p:cNvSpPr txBox="1"/>
          <p:nvPr/>
        </p:nvSpPr>
        <p:spPr>
          <a:xfrm>
            <a:off x="2469917" y="2092438"/>
            <a:ext cx="1944000" cy="32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Michael </a:t>
            </a:r>
            <a:r>
              <a:rPr kumimoji="0" lang="en-US" sz="1600" i="0" u="none" strike="noStrike" kern="0" cap="none" spc="0" normalizeH="0" baseline="0" noProof="0" dirty="0" err="1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Chopp</a:t>
            </a:r>
            <a:endParaRPr kumimoji="0" lang="en-US" sz="1600" i="0" u="none" strike="noStrike" kern="0" cap="none" spc="0" normalizeH="0" baseline="0" noProof="0" dirty="0">
              <a:ln>
                <a:noFill/>
              </a:ln>
              <a:solidFill>
                <a:srgbClr val="04143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87" name="Freeform: Shape 86">
            <a:extLst>
              <a:ext uri="{FF2B5EF4-FFF2-40B4-BE49-F238E27FC236}">
                <a16:creationId xmlns:a16="http://schemas.microsoft.com/office/drawing/2014/main" id="{4CD4A5C5-A8D5-7BB8-A364-79FA2310F638}"/>
              </a:ext>
            </a:extLst>
          </p:cNvPr>
          <p:cNvSpPr/>
          <p:nvPr/>
        </p:nvSpPr>
        <p:spPr>
          <a:xfrm>
            <a:off x="3032191" y="2631510"/>
            <a:ext cx="820077" cy="820077"/>
          </a:xfrm>
          <a:custGeom>
            <a:avLst/>
            <a:gdLst>
              <a:gd name="connsiteX0" fmla="*/ 1871076 w 2090660"/>
              <a:gd name="connsiteY0" fmla="*/ 2090660 h 2090659"/>
              <a:gd name="connsiteX1" fmla="*/ 219584 w 2090660"/>
              <a:gd name="connsiteY1" fmla="*/ 2090660 h 2090659"/>
              <a:gd name="connsiteX2" fmla="*/ 0 w 2090660"/>
              <a:gd name="connsiteY2" fmla="*/ 1871075 h 2090659"/>
              <a:gd name="connsiteX3" fmla="*/ 0 w 2090660"/>
              <a:gd name="connsiteY3" fmla="*/ 219584 h 2090659"/>
              <a:gd name="connsiteX4" fmla="*/ 219584 w 2090660"/>
              <a:gd name="connsiteY4" fmla="*/ 0 h 2090659"/>
              <a:gd name="connsiteX5" fmla="*/ 1871076 w 2090660"/>
              <a:gd name="connsiteY5" fmla="*/ 0 h 2090659"/>
              <a:gd name="connsiteX6" fmla="*/ 2090660 w 2090660"/>
              <a:gd name="connsiteY6" fmla="*/ 219584 h 2090659"/>
              <a:gd name="connsiteX7" fmla="*/ 2090660 w 2090660"/>
              <a:gd name="connsiteY7" fmla="*/ 1871075 h 2090659"/>
              <a:gd name="connsiteX8" fmla="*/ 1871076 w 2090660"/>
              <a:gd name="connsiteY8" fmla="*/ 2090660 h 2090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90660" h="2090659">
                <a:moveTo>
                  <a:pt x="1871076" y="2090660"/>
                </a:moveTo>
                <a:lnTo>
                  <a:pt x="219584" y="2090660"/>
                </a:lnTo>
                <a:cubicBezTo>
                  <a:pt x="98193" y="2090660"/>
                  <a:pt x="0" y="1992149"/>
                  <a:pt x="0" y="1871075"/>
                </a:cubicBezTo>
                <a:lnTo>
                  <a:pt x="0" y="219584"/>
                </a:lnTo>
                <a:cubicBezTo>
                  <a:pt x="0" y="98193"/>
                  <a:pt x="98511" y="0"/>
                  <a:pt x="219584" y="0"/>
                </a:cubicBezTo>
                <a:lnTo>
                  <a:pt x="1871076" y="0"/>
                </a:lnTo>
                <a:cubicBezTo>
                  <a:pt x="1992467" y="0"/>
                  <a:pt x="2090660" y="98511"/>
                  <a:pt x="2090660" y="219584"/>
                </a:cubicBezTo>
                <a:lnTo>
                  <a:pt x="2090660" y="1871075"/>
                </a:lnTo>
                <a:cubicBezTo>
                  <a:pt x="2090660" y="1992466"/>
                  <a:pt x="1992467" y="2090660"/>
                  <a:pt x="1871076" y="2090660"/>
                </a:cubicBezTo>
                <a:close/>
              </a:path>
            </a:pathLst>
          </a:custGeom>
          <a:solidFill>
            <a:schemeClr val="bg1"/>
          </a:solidFill>
          <a:ln w="3178" cap="flat">
            <a:noFill/>
            <a:prstDash val="solid"/>
            <a:miter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8" name="Freeform: Shape 87">
            <a:extLst>
              <a:ext uri="{FF2B5EF4-FFF2-40B4-BE49-F238E27FC236}">
                <a16:creationId xmlns:a16="http://schemas.microsoft.com/office/drawing/2014/main" id="{F94DADA6-7C8A-2553-3253-C5076E506DB6}"/>
              </a:ext>
            </a:extLst>
          </p:cNvPr>
          <p:cNvSpPr/>
          <p:nvPr/>
        </p:nvSpPr>
        <p:spPr>
          <a:xfrm>
            <a:off x="2952913" y="3069533"/>
            <a:ext cx="497979" cy="461332"/>
          </a:xfrm>
          <a:custGeom>
            <a:avLst/>
            <a:gdLst>
              <a:gd name="connsiteX0" fmla="*/ 1247596 w 1269522"/>
              <a:gd name="connsiteY0" fmla="*/ 1176095 h 1176095"/>
              <a:gd name="connsiteX1" fmla="*/ 1230753 w 1269522"/>
              <a:gd name="connsiteY1" fmla="*/ 1176095 h 1176095"/>
              <a:gd name="connsiteX2" fmla="*/ 1208827 w 1269522"/>
              <a:gd name="connsiteY2" fmla="*/ 1154169 h 1176095"/>
              <a:gd name="connsiteX3" fmla="*/ 1230753 w 1269522"/>
              <a:gd name="connsiteY3" fmla="*/ 1132242 h 1176095"/>
              <a:gd name="connsiteX4" fmla="*/ 1247596 w 1269522"/>
              <a:gd name="connsiteY4" fmla="*/ 1132242 h 1176095"/>
              <a:gd name="connsiteX5" fmla="*/ 1269522 w 1269522"/>
              <a:gd name="connsiteY5" fmla="*/ 1154169 h 1176095"/>
              <a:gd name="connsiteX6" fmla="*/ 1247596 w 1269522"/>
              <a:gd name="connsiteY6" fmla="*/ 1176095 h 1176095"/>
              <a:gd name="connsiteX7" fmla="*/ 1060742 w 1269522"/>
              <a:gd name="connsiteY7" fmla="*/ 1176095 h 1176095"/>
              <a:gd name="connsiteX8" fmla="*/ 1043900 w 1269522"/>
              <a:gd name="connsiteY8" fmla="*/ 1176095 h 1176095"/>
              <a:gd name="connsiteX9" fmla="*/ 1021973 w 1269522"/>
              <a:gd name="connsiteY9" fmla="*/ 1154169 h 1176095"/>
              <a:gd name="connsiteX10" fmla="*/ 1043900 w 1269522"/>
              <a:gd name="connsiteY10" fmla="*/ 1132242 h 1176095"/>
              <a:gd name="connsiteX11" fmla="*/ 1060742 w 1269522"/>
              <a:gd name="connsiteY11" fmla="*/ 1132242 h 1176095"/>
              <a:gd name="connsiteX12" fmla="*/ 1082669 w 1269522"/>
              <a:gd name="connsiteY12" fmla="*/ 1154169 h 1176095"/>
              <a:gd name="connsiteX13" fmla="*/ 1060742 w 1269522"/>
              <a:gd name="connsiteY13" fmla="*/ 1176095 h 1176095"/>
              <a:gd name="connsiteX14" fmla="*/ 874207 w 1269522"/>
              <a:gd name="connsiteY14" fmla="*/ 1176095 h 1176095"/>
              <a:gd name="connsiteX15" fmla="*/ 857364 w 1269522"/>
              <a:gd name="connsiteY15" fmla="*/ 1176095 h 1176095"/>
              <a:gd name="connsiteX16" fmla="*/ 835438 w 1269522"/>
              <a:gd name="connsiteY16" fmla="*/ 1154169 h 1176095"/>
              <a:gd name="connsiteX17" fmla="*/ 857364 w 1269522"/>
              <a:gd name="connsiteY17" fmla="*/ 1132242 h 1176095"/>
              <a:gd name="connsiteX18" fmla="*/ 874207 w 1269522"/>
              <a:gd name="connsiteY18" fmla="*/ 1132242 h 1176095"/>
              <a:gd name="connsiteX19" fmla="*/ 896133 w 1269522"/>
              <a:gd name="connsiteY19" fmla="*/ 1154169 h 1176095"/>
              <a:gd name="connsiteX20" fmla="*/ 874207 w 1269522"/>
              <a:gd name="connsiteY20" fmla="*/ 1176095 h 1176095"/>
              <a:gd name="connsiteX21" fmla="*/ 687353 w 1269522"/>
              <a:gd name="connsiteY21" fmla="*/ 1176095 h 1176095"/>
              <a:gd name="connsiteX22" fmla="*/ 670511 w 1269522"/>
              <a:gd name="connsiteY22" fmla="*/ 1176095 h 1176095"/>
              <a:gd name="connsiteX23" fmla="*/ 648584 w 1269522"/>
              <a:gd name="connsiteY23" fmla="*/ 1154169 h 1176095"/>
              <a:gd name="connsiteX24" fmla="*/ 670511 w 1269522"/>
              <a:gd name="connsiteY24" fmla="*/ 1132242 h 1176095"/>
              <a:gd name="connsiteX25" fmla="*/ 687353 w 1269522"/>
              <a:gd name="connsiteY25" fmla="*/ 1132242 h 1176095"/>
              <a:gd name="connsiteX26" fmla="*/ 709280 w 1269522"/>
              <a:gd name="connsiteY26" fmla="*/ 1154169 h 1176095"/>
              <a:gd name="connsiteX27" fmla="*/ 687353 w 1269522"/>
              <a:gd name="connsiteY27" fmla="*/ 1176095 h 1176095"/>
              <a:gd name="connsiteX28" fmla="*/ 500818 w 1269522"/>
              <a:gd name="connsiteY28" fmla="*/ 1176095 h 1176095"/>
              <a:gd name="connsiteX29" fmla="*/ 483976 w 1269522"/>
              <a:gd name="connsiteY29" fmla="*/ 1176095 h 1176095"/>
              <a:gd name="connsiteX30" fmla="*/ 462049 w 1269522"/>
              <a:gd name="connsiteY30" fmla="*/ 1154169 h 1176095"/>
              <a:gd name="connsiteX31" fmla="*/ 483976 w 1269522"/>
              <a:gd name="connsiteY31" fmla="*/ 1132242 h 1176095"/>
              <a:gd name="connsiteX32" fmla="*/ 500818 w 1269522"/>
              <a:gd name="connsiteY32" fmla="*/ 1132242 h 1176095"/>
              <a:gd name="connsiteX33" fmla="*/ 522744 w 1269522"/>
              <a:gd name="connsiteY33" fmla="*/ 1154169 h 1176095"/>
              <a:gd name="connsiteX34" fmla="*/ 500818 w 1269522"/>
              <a:gd name="connsiteY34" fmla="*/ 1176095 h 1176095"/>
              <a:gd name="connsiteX35" fmla="*/ 313964 w 1269522"/>
              <a:gd name="connsiteY35" fmla="*/ 1176095 h 1176095"/>
              <a:gd name="connsiteX36" fmla="*/ 297122 w 1269522"/>
              <a:gd name="connsiteY36" fmla="*/ 1176095 h 1176095"/>
              <a:gd name="connsiteX37" fmla="*/ 275196 w 1269522"/>
              <a:gd name="connsiteY37" fmla="*/ 1154169 h 1176095"/>
              <a:gd name="connsiteX38" fmla="*/ 297122 w 1269522"/>
              <a:gd name="connsiteY38" fmla="*/ 1132242 h 1176095"/>
              <a:gd name="connsiteX39" fmla="*/ 313964 w 1269522"/>
              <a:gd name="connsiteY39" fmla="*/ 1132242 h 1176095"/>
              <a:gd name="connsiteX40" fmla="*/ 335891 w 1269522"/>
              <a:gd name="connsiteY40" fmla="*/ 1154169 h 1176095"/>
              <a:gd name="connsiteX41" fmla="*/ 313964 w 1269522"/>
              <a:gd name="connsiteY41" fmla="*/ 1176095 h 1176095"/>
              <a:gd name="connsiteX42" fmla="*/ 133784 w 1269522"/>
              <a:gd name="connsiteY42" fmla="*/ 1141458 h 1176095"/>
              <a:gd name="connsiteX43" fmla="*/ 122344 w 1269522"/>
              <a:gd name="connsiteY43" fmla="*/ 1138280 h 1176095"/>
              <a:gd name="connsiteX44" fmla="*/ 106773 w 1269522"/>
              <a:gd name="connsiteY44" fmla="*/ 1128111 h 1176095"/>
              <a:gd name="connsiteX45" fmla="*/ 101689 w 1269522"/>
              <a:gd name="connsiteY45" fmla="*/ 1097286 h 1176095"/>
              <a:gd name="connsiteX46" fmla="*/ 132513 w 1269522"/>
              <a:gd name="connsiteY46" fmla="*/ 1092202 h 1176095"/>
              <a:gd name="connsiteX47" fmla="*/ 145224 w 1269522"/>
              <a:gd name="connsiteY47" fmla="*/ 1100782 h 1176095"/>
              <a:gd name="connsiteX48" fmla="*/ 152533 w 1269522"/>
              <a:gd name="connsiteY48" fmla="*/ 1131289 h 1176095"/>
              <a:gd name="connsiteX49" fmla="*/ 133784 w 1269522"/>
              <a:gd name="connsiteY49" fmla="*/ 1141458 h 1176095"/>
              <a:gd name="connsiteX50" fmla="*/ 27964 w 1269522"/>
              <a:gd name="connsiteY50" fmla="*/ 993691 h 1176095"/>
              <a:gd name="connsiteX51" fmla="*/ 6356 w 1269522"/>
              <a:gd name="connsiteY51" fmla="*/ 976531 h 1176095"/>
              <a:gd name="connsiteX52" fmla="*/ 2860 w 1269522"/>
              <a:gd name="connsiteY52" fmla="*/ 958418 h 1176095"/>
              <a:gd name="connsiteX53" fmla="*/ 21291 w 1269522"/>
              <a:gd name="connsiteY53" fmla="*/ 933313 h 1176095"/>
              <a:gd name="connsiteX54" fmla="*/ 46396 w 1269522"/>
              <a:gd name="connsiteY54" fmla="*/ 951744 h 1176095"/>
              <a:gd name="connsiteX55" fmla="*/ 49256 w 1269522"/>
              <a:gd name="connsiteY55" fmla="*/ 966998 h 1176095"/>
              <a:gd name="connsiteX56" fmla="*/ 32731 w 1269522"/>
              <a:gd name="connsiteY56" fmla="*/ 993373 h 1176095"/>
              <a:gd name="connsiteX57" fmla="*/ 27964 w 1269522"/>
              <a:gd name="connsiteY57" fmla="*/ 993691 h 1176095"/>
              <a:gd name="connsiteX58" fmla="*/ 21927 w 1269522"/>
              <a:gd name="connsiteY58" fmla="*/ 807473 h 1176095"/>
              <a:gd name="connsiteX59" fmla="*/ 0 w 1269522"/>
              <a:gd name="connsiteY59" fmla="*/ 785547 h 1176095"/>
              <a:gd name="connsiteX60" fmla="*/ 0 w 1269522"/>
              <a:gd name="connsiteY60" fmla="*/ 768704 h 1176095"/>
              <a:gd name="connsiteX61" fmla="*/ 21927 w 1269522"/>
              <a:gd name="connsiteY61" fmla="*/ 746778 h 1176095"/>
              <a:gd name="connsiteX62" fmla="*/ 43853 w 1269522"/>
              <a:gd name="connsiteY62" fmla="*/ 768704 h 1176095"/>
              <a:gd name="connsiteX63" fmla="*/ 43853 w 1269522"/>
              <a:gd name="connsiteY63" fmla="*/ 785547 h 1176095"/>
              <a:gd name="connsiteX64" fmla="*/ 21927 w 1269522"/>
              <a:gd name="connsiteY64" fmla="*/ 807473 h 1176095"/>
              <a:gd name="connsiteX65" fmla="*/ 21927 w 1269522"/>
              <a:gd name="connsiteY65" fmla="*/ 620620 h 1176095"/>
              <a:gd name="connsiteX66" fmla="*/ 0 w 1269522"/>
              <a:gd name="connsiteY66" fmla="*/ 598693 h 1176095"/>
              <a:gd name="connsiteX67" fmla="*/ 0 w 1269522"/>
              <a:gd name="connsiteY67" fmla="*/ 581533 h 1176095"/>
              <a:gd name="connsiteX68" fmla="*/ 21927 w 1269522"/>
              <a:gd name="connsiteY68" fmla="*/ 559606 h 1176095"/>
              <a:gd name="connsiteX69" fmla="*/ 43853 w 1269522"/>
              <a:gd name="connsiteY69" fmla="*/ 581533 h 1176095"/>
              <a:gd name="connsiteX70" fmla="*/ 43853 w 1269522"/>
              <a:gd name="connsiteY70" fmla="*/ 598375 h 1176095"/>
              <a:gd name="connsiteX71" fmla="*/ 21927 w 1269522"/>
              <a:gd name="connsiteY71" fmla="*/ 620620 h 1176095"/>
              <a:gd name="connsiteX72" fmla="*/ 21927 w 1269522"/>
              <a:gd name="connsiteY72" fmla="*/ 434084 h 1176095"/>
              <a:gd name="connsiteX73" fmla="*/ 0 w 1269522"/>
              <a:gd name="connsiteY73" fmla="*/ 412158 h 1176095"/>
              <a:gd name="connsiteX74" fmla="*/ 0 w 1269522"/>
              <a:gd name="connsiteY74" fmla="*/ 395316 h 1176095"/>
              <a:gd name="connsiteX75" fmla="*/ 21927 w 1269522"/>
              <a:gd name="connsiteY75" fmla="*/ 373389 h 1176095"/>
              <a:gd name="connsiteX76" fmla="*/ 43853 w 1269522"/>
              <a:gd name="connsiteY76" fmla="*/ 395316 h 1176095"/>
              <a:gd name="connsiteX77" fmla="*/ 43853 w 1269522"/>
              <a:gd name="connsiteY77" fmla="*/ 412158 h 1176095"/>
              <a:gd name="connsiteX78" fmla="*/ 21927 w 1269522"/>
              <a:gd name="connsiteY78" fmla="*/ 434084 h 1176095"/>
              <a:gd name="connsiteX79" fmla="*/ 21927 w 1269522"/>
              <a:gd name="connsiteY79" fmla="*/ 247231 h 1176095"/>
              <a:gd name="connsiteX80" fmla="*/ 0 w 1269522"/>
              <a:gd name="connsiteY80" fmla="*/ 225304 h 1176095"/>
              <a:gd name="connsiteX81" fmla="*/ 0 w 1269522"/>
              <a:gd name="connsiteY81" fmla="*/ 208462 h 1176095"/>
              <a:gd name="connsiteX82" fmla="*/ 21927 w 1269522"/>
              <a:gd name="connsiteY82" fmla="*/ 186536 h 1176095"/>
              <a:gd name="connsiteX83" fmla="*/ 43853 w 1269522"/>
              <a:gd name="connsiteY83" fmla="*/ 208462 h 1176095"/>
              <a:gd name="connsiteX84" fmla="*/ 43853 w 1269522"/>
              <a:gd name="connsiteY84" fmla="*/ 225304 h 1176095"/>
              <a:gd name="connsiteX85" fmla="*/ 21927 w 1269522"/>
              <a:gd name="connsiteY85" fmla="*/ 247231 h 1176095"/>
              <a:gd name="connsiteX86" fmla="*/ 21927 w 1269522"/>
              <a:gd name="connsiteY86" fmla="*/ 60696 h 1176095"/>
              <a:gd name="connsiteX87" fmla="*/ 0 w 1269522"/>
              <a:gd name="connsiteY87" fmla="*/ 38769 h 1176095"/>
              <a:gd name="connsiteX88" fmla="*/ 0 w 1269522"/>
              <a:gd name="connsiteY88" fmla="*/ 21927 h 1176095"/>
              <a:gd name="connsiteX89" fmla="*/ 21927 w 1269522"/>
              <a:gd name="connsiteY89" fmla="*/ 0 h 1176095"/>
              <a:gd name="connsiteX90" fmla="*/ 43853 w 1269522"/>
              <a:gd name="connsiteY90" fmla="*/ 21927 h 1176095"/>
              <a:gd name="connsiteX91" fmla="*/ 43853 w 1269522"/>
              <a:gd name="connsiteY91" fmla="*/ 38769 h 1176095"/>
              <a:gd name="connsiteX92" fmla="*/ 21927 w 1269522"/>
              <a:gd name="connsiteY92" fmla="*/ 60696 h 1176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</a:cxnLst>
            <a:rect l="l" t="t" r="r" b="b"/>
            <a:pathLst>
              <a:path w="1269522" h="1176095">
                <a:moveTo>
                  <a:pt x="1247596" y="1176095"/>
                </a:moveTo>
                <a:lnTo>
                  <a:pt x="1230753" y="1176095"/>
                </a:lnTo>
                <a:cubicBezTo>
                  <a:pt x="1218678" y="1176095"/>
                  <a:pt x="1208827" y="1166244"/>
                  <a:pt x="1208827" y="1154169"/>
                </a:cubicBezTo>
                <a:cubicBezTo>
                  <a:pt x="1208827" y="1142093"/>
                  <a:pt x="1218678" y="1132242"/>
                  <a:pt x="1230753" y="1132242"/>
                </a:cubicBezTo>
                <a:lnTo>
                  <a:pt x="1247596" y="1132242"/>
                </a:lnTo>
                <a:cubicBezTo>
                  <a:pt x="1259671" y="1132242"/>
                  <a:pt x="1269522" y="1142093"/>
                  <a:pt x="1269522" y="1154169"/>
                </a:cubicBezTo>
                <a:cubicBezTo>
                  <a:pt x="1269522" y="1166244"/>
                  <a:pt x="1259671" y="1176095"/>
                  <a:pt x="1247596" y="1176095"/>
                </a:cubicBezTo>
                <a:close/>
                <a:moveTo>
                  <a:pt x="1060742" y="1176095"/>
                </a:moveTo>
                <a:lnTo>
                  <a:pt x="1043900" y="1176095"/>
                </a:lnTo>
                <a:cubicBezTo>
                  <a:pt x="1031825" y="1176095"/>
                  <a:pt x="1021973" y="1166244"/>
                  <a:pt x="1021973" y="1154169"/>
                </a:cubicBezTo>
                <a:cubicBezTo>
                  <a:pt x="1021973" y="1142093"/>
                  <a:pt x="1031825" y="1132242"/>
                  <a:pt x="1043900" y="1132242"/>
                </a:cubicBezTo>
                <a:lnTo>
                  <a:pt x="1060742" y="1132242"/>
                </a:lnTo>
                <a:cubicBezTo>
                  <a:pt x="1072818" y="1132242"/>
                  <a:pt x="1082669" y="1142093"/>
                  <a:pt x="1082669" y="1154169"/>
                </a:cubicBezTo>
                <a:cubicBezTo>
                  <a:pt x="1082669" y="1166244"/>
                  <a:pt x="1072818" y="1176095"/>
                  <a:pt x="1060742" y="1176095"/>
                </a:cubicBezTo>
                <a:close/>
                <a:moveTo>
                  <a:pt x="874207" y="1176095"/>
                </a:moveTo>
                <a:lnTo>
                  <a:pt x="857364" y="1176095"/>
                </a:lnTo>
                <a:cubicBezTo>
                  <a:pt x="845289" y="1176095"/>
                  <a:pt x="835438" y="1166244"/>
                  <a:pt x="835438" y="1154169"/>
                </a:cubicBezTo>
                <a:cubicBezTo>
                  <a:pt x="835438" y="1142093"/>
                  <a:pt x="845289" y="1132242"/>
                  <a:pt x="857364" y="1132242"/>
                </a:cubicBezTo>
                <a:lnTo>
                  <a:pt x="874207" y="1132242"/>
                </a:lnTo>
                <a:cubicBezTo>
                  <a:pt x="886282" y="1132242"/>
                  <a:pt x="896133" y="1142093"/>
                  <a:pt x="896133" y="1154169"/>
                </a:cubicBezTo>
                <a:cubicBezTo>
                  <a:pt x="896133" y="1166244"/>
                  <a:pt x="886282" y="1176095"/>
                  <a:pt x="874207" y="1176095"/>
                </a:cubicBezTo>
                <a:close/>
                <a:moveTo>
                  <a:pt x="687353" y="1176095"/>
                </a:moveTo>
                <a:lnTo>
                  <a:pt x="670511" y="1176095"/>
                </a:lnTo>
                <a:cubicBezTo>
                  <a:pt x="658436" y="1176095"/>
                  <a:pt x="648584" y="1166244"/>
                  <a:pt x="648584" y="1154169"/>
                </a:cubicBezTo>
                <a:cubicBezTo>
                  <a:pt x="648584" y="1142093"/>
                  <a:pt x="658436" y="1132242"/>
                  <a:pt x="670511" y="1132242"/>
                </a:cubicBezTo>
                <a:lnTo>
                  <a:pt x="687353" y="1132242"/>
                </a:lnTo>
                <a:cubicBezTo>
                  <a:pt x="699429" y="1132242"/>
                  <a:pt x="709280" y="1142093"/>
                  <a:pt x="709280" y="1154169"/>
                </a:cubicBezTo>
                <a:cubicBezTo>
                  <a:pt x="709280" y="1166244"/>
                  <a:pt x="699429" y="1176095"/>
                  <a:pt x="687353" y="1176095"/>
                </a:cubicBezTo>
                <a:close/>
                <a:moveTo>
                  <a:pt x="500818" y="1176095"/>
                </a:moveTo>
                <a:lnTo>
                  <a:pt x="483976" y="1176095"/>
                </a:lnTo>
                <a:cubicBezTo>
                  <a:pt x="471900" y="1176095"/>
                  <a:pt x="462049" y="1166244"/>
                  <a:pt x="462049" y="1154169"/>
                </a:cubicBezTo>
                <a:cubicBezTo>
                  <a:pt x="462049" y="1142093"/>
                  <a:pt x="471900" y="1132242"/>
                  <a:pt x="483976" y="1132242"/>
                </a:cubicBezTo>
                <a:lnTo>
                  <a:pt x="500818" y="1132242"/>
                </a:lnTo>
                <a:cubicBezTo>
                  <a:pt x="512893" y="1132242"/>
                  <a:pt x="522744" y="1142093"/>
                  <a:pt x="522744" y="1154169"/>
                </a:cubicBezTo>
                <a:cubicBezTo>
                  <a:pt x="522744" y="1166244"/>
                  <a:pt x="512893" y="1176095"/>
                  <a:pt x="500818" y="1176095"/>
                </a:cubicBezTo>
                <a:close/>
                <a:moveTo>
                  <a:pt x="313964" y="1176095"/>
                </a:moveTo>
                <a:lnTo>
                  <a:pt x="297122" y="1176095"/>
                </a:lnTo>
                <a:cubicBezTo>
                  <a:pt x="285047" y="1176095"/>
                  <a:pt x="275196" y="1166244"/>
                  <a:pt x="275196" y="1154169"/>
                </a:cubicBezTo>
                <a:cubicBezTo>
                  <a:pt x="275196" y="1142093"/>
                  <a:pt x="285047" y="1132242"/>
                  <a:pt x="297122" y="1132242"/>
                </a:cubicBezTo>
                <a:lnTo>
                  <a:pt x="313964" y="1132242"/>
                </a:lnTo>
                <a:cubicBezTo>
                  <a:pt x="326040" y="1132242"/>
                  <a:pt x="335891" y="1142093"/>
                  <a:pt x="335891" y="1154169"/>
                </a:cubicBezTo>
                <a:cubicBezTo>
                  <a:pt x="335891" y="1166244"/>
                  <a:pt x="326040" y="1176095"/>
                  <a:pt x="313964" y="1176095"/>
                </a:cubicBezTo>
                <a:close/>
                <a:moveTo>
                  <a:pt x="133784" y="1141458"/>
                </a:moveTo>
                <a:cubicBezTo>
                  <a:pt x="129971" y="1141458"/>
                  <a:pt x="125840" y="1140504"/>
                  <a:pt x="122344" y="1138280"/>
                </a:cubicBezTo>
                <a:cubicBezTo>
                  <a:pt x="116942" y="1135102"/>
                  <a:pt x="111858" y="1131606"/>
                  <a:pt x="106773" y="1128111"/>
                </a:cubicBezTo>
                <a:cubicBezTo>
                  <a:pt x="96922" y="1121120"/>
                  <a:pt x="94698" y="1107138"/>
                  <a:pt x="101689" y="1097286"/>
                </a:cubicBezTo>
                <a:cubicBezTo>
                  <a:pt x="108680" y="1087435"/>
                  <a:pt x="122662" y="1085211"/>
                  <a:pt x="132513" y="1092202"/>
                </a:cubicBezTo>
                <a:cubicBezTo>
                  <a:pt x="136644" y="1095062"/>
                  <a:pt x="141093" y="1097922"/>
                  <a:pt x="145224" y="1100782"/>
                </a:cubicBezTo>
                <a:cubicBezTo>
                  <a:pt x="155711" y="1107138"/>
                  <a:pt x="158889" y="1120802"/>
                  <a:pt x="152533" y="1131289"/>
                </a:cubicBezTo>
                <a:cubicBezTo>
                  <a:pt x="148402" y="1137644"/>
                  <a:pt x="141093" y="1141458"/>
                  <a:pt x="133784" y="1141458"/>
                </a:cubicBezTo>
                <a:close/>
                <a:moveTo>
                  <a:pt x="27964" y="993691"/>
                </a:moveTo>
                <a:cubicBezTo>
                  <a:pt x="17796" y="993691"/>
                  <a:pt x="8898" y="986700"/>
                  <a:pt x="6356" y="976531"/>
                </a:cubicBezTo>
                <a:cubicBezTo>
                  <a:pt x="5084" y="970493"/>
                  <a:pt x="3813" y="964455"/>
                  <a:pt x="2860" y="958418"/>
                </a:cubicBezTo>
                <a:cubicBezTo>
                  <a:pt x="953" y="946342"/>
                  <a:pt x="9216" y="935220"/>
                  <a:pt x="21291" y="933313"/>
                </a:cubicBezTo>
                <a:cubicBezTo>
                  <a:pt x="33367" y="931406"/>
                  <a:pt x="44489" y="939669"/>
                  <a:pt x="46396" y="951744"/>
                </a:cubicBezTo>
                <a:cubicBezTo>
                  <a:pt x="47031" y="956829"/>
                  <a:pt x="47984" y="961913"/>
                  <a:pt x="49256" y="966998"/>
                </a:cubicBezTo>
                <a:cubicBezTo>
                  <a:pt x="51798" y="978755"/>
                  <a:pt x="44489" y="990831"/>
                  <a:pt x="32731" y="993373"/>
                </a:cubicBezTo>
                <a:cubicBezTo>
                  <a:pt x="31142" y="993373"/>
                  <a:pt x="29553" y="993691"/>
                  <a:pt x="27964" y="993691"/>
                </a:cubicBezTo>
                <a:close/>
                <a:moveTo>
                  <a:pt x="21927" y="807473"/>
                </a:moveTo>
                <a:cubicBezTo>
                  <a:pt x="9851" y="807473"/>
                  <a:pt x="0" y="797622"/>
                  <a:pt x="0" y="785547"/>
                </a:cubicBezTo>
                <a:lnTo>
                  <a:pt x="0" y="768704"/>
                </a:lnTo>
                <a:cubicBezTo>
                  <a:pt x="0" y="756629"/>
                  <a:pt x="9851" y="746778"/>
                  <a:pt x="21927" y="746778"/>
                </a:cubicBezTo>
                <a:cubicBezTo>
                  <a:pt x="34002" y="746778"/>
                  <a:pt x="43853" y="756629"/>
                  <a:pt x="43853" y="768704"/>
                </a:cubicBezTo>
                <a:lnTo>
                  <a:pt x="43853" y="785547"/>
                </a:lnTo>
                <a:cubicBezTo>
                  <a:pt x="44171" y="797622"/>
                  <a:pt x="34320" y="807473"/>
                  <a:pt x="21927" y="807473"/>
                </a:cubicBezTo>
                <a:close/>
                <a:moveTo>
                  <a:pt x="21927" y="620620"/>
                </a:moveTo>
                <a:cubicBezTo>
                  <a:pt x="9851" y="620620"/>
                  <a:pt x="0" y="610769"/>
                  <a:pt x="0" y="598693"/>
                </a:cubicBezTo>
                <a:lnTo>
                  <a:pt x="0" y="581533"/>
                </a:lnTo>
                <a:cubicBezTo>
                  <a:pt x="0" y="569458"/>
                  <a:pt x="9851" y="559606"/>
                  <a:pt x="21927" y="559606"/>
                </a:cubicBezTo>
                <a:cubicBezTo>
                  <a:pt x="34002" y="559606"/>
                  <a:pt x="43853" y="569458"/>
                  <a:pt x="43853" y="581533"/>
                </a:cubicBezTo>
                <a:lnTo>
                  <a:pt x="43853" y="598375"/>
                </a:lnTo>
                <a:cubicBezTo>
                  <a:pt x="44171" y="610769"/>
                  <a:pt x="34320" y="620620"/>
                  <a:pt x="21927" y="620620"/>
                </a:cubicBezTo>
                <a:close/>
                <a:moveTo>
                  <a:pt x="21927" y="434084"/>
                </a:moveTo>
                <a:cubicBezTo>
                  <a:pt x="9851" y="434084"/>
                  <a:pt x="0" y="424233"/>
                  <a:pt x="0" y="412158"/>
                </a:cubicBezTo>
                <a:lnTo>
                  <a:pt x="0" y="395316"/>
                </a:lnTo>
                <a:cubicBezTo>
                  <a:pt x="0" y="383240"/>
                  <a:pt x="9851" y="373389"/>
                  <a:pt x="21927" y="373389"/>
                </a:cubicBezTo>
                <a:cubicBezTo>
                  <a:pt x="34002" y="373389"/>
                  <a:pt x="43853" y="383240"/>
                  <a:pt x="43853" y="395316"/>
                </a:cubicBezTo>
                <a:lnTo>
                  <a:pt x="43853" y="412158"/>
                </a:lnTo>
                <a:cubicBezTo>
                  <a:pt x="44171" y="424233"/>
                  <a:pt x="34320" y="434084"/>
                  <a:pt x="21927" y="434084"/>
                </a:cubicBezTo>
                <a:close/>
                <a:moveTo>
                  <a:pt x="21927" y="247231"/>
                </a:moveTo>
                <a:cubicBezTo>
                  <a:pt x="9851" y="247231"/>
                  <a:pt x="0" y="237380"/>
                  <a:pt x="0" y="225304"/>
                </a:cubicBezTo>
                <a:lnTo>
                  <a:pt x="0" y="208462"/>
                </a:lnTo>
                <a:cubicBezTo>
                  <a:pt x="0" y="196387"/>
                  <a:pt x="9851" y="186536"/>
                  <a:pt x="21927" y="186536"/>
                </a:cubicBezTo>
                <a:cubicBezTo>
                  <a:pt x="34002" y="186536"/>
                  <a:pt x="43853" y="196387"/>
                  <a:pt x="43853" y="208462"/>
                </a:cubicBezTo>
                <a:lnTo>
                  <a:pt x="43853" y="225304"/>
                </a:lnTo>
                <a:cubicBezTo>
                  <a:pt x="44171" y="237380"/>
                  <a:pt x="34320" y="247231"/>
                  <a:pt x="21927" y="247231"/>
                </a:cubicBezTo>
                <a:close/>
                <a:moveTo>
                  <a:pt x="21927" y="60696"/>
                </a:moveTo>
                <a:cubicBezTo>
                  <a:pt x="9851" y="60696"/>
                  <a:pt x="0" y="50844"/>
                  <a:pt x="0" y="38769"/>
                </a:cubicBezTo>
                <a:lnTo>
                  <a:pt x="0" y="21927"/>
                </a:lnTo>
                <a:cubicBezTo>
                  <a:pt x="0" y="9851"/>
                  <a:pt x="9851" y="0"/>
                  <a:pt x="21927" y="0"/>
                </a:cubicBezTo>
                <a:cubicBezTo>
                  <a:pt x="34002" y="0"/>
                  <a:pt x="43853" y="9851"/>
                  <a:pt x="43853" y="21927"/>
                </a:cubicBezTo>
                <a:lnTo>
                  <a:pt x="43853" y="38769"/>
                </a:lnTo>
                <a:cubicBezTo>
                  <a:pt x="44171" y="50844"/>
                  <a:pt x="34320" y="60696"/>
                  <a:pt x="21927" y="60696"/>
                </a:cubicBezTo>
                <a:close/>
              </a:path>
            </a:pathLst>
          </a:custGeom>
          <a:solidFill>
            <a:srgbClr val="002060"/>
          </a:solidFill>
          <a:ln w="317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9" name="Freeform: Shape 88">
            <a:extLst>
              <a:ext uri="{FF2B5EF4-FFF2-40B4-BE49-F238E27FC236}">
                <a16:creationId xmlns:a16="http://schemas.microsoft.com/office/drawing/2014/main" id="{F5E62DFE-7E18-9C32-089A-C71EBD475F67}"/>
              </a:ext>
            </a:extLst>
          </p:cNvPr>
          <p:cNvSpPr/>
          <p:nvPr/>
        </p:nvSpPr>
        <p:spPr>
          <a:xfrm>
            <a:off x="2953661" y="2552855"/>
            <a:ext cx="977261" cy="977386"/>
          </a:xfrm>
          <a:custGeom>
            <a:avLst/>
            <a:gdLst>
              <a:gd name="connsiteX0" fmla="*/ 2236202 w 2491377"/>
              <a:gd name="connsiteY0" fmla="*/ 2491695 h 2491694"/>
              <a:gd name="connsiteX1" fmla="*/ 1245689 w 2491377"/>
              <a:gd name="connsiteY1" fmla="*/ 2491695 h 2491694"/>
              <a:gd name="connsiteX2" fmla="*/ 1225351 w 2491377"/>
              <a:gd name="connsiteY2" fmla="*/ 2471357 h 2491694"/>
              <a:gd name="connsiteX3" fmla="*/ 1245689 w 2491377"/>
              <a:gd name="connsiteY3" fmla="*/ 2451020 h 2491694"/>
              <a:gd name="connsiteX4" fmla="*/ 2236520 w 2491377"/>
              <a:gd name="connsiteY4" fmla="*/ 2451020 h 2491694"/>
              <a:gd name="connsiteX5" fmla="*/ 2450702 w 2491377"/>
              <a:gd name="connsiteY5" fmla="*/ 2236837 h 2491694"/>
              <a:gd name="connsiteX6" fmla="*/ 2450702 w 2491377"/>
              <a:gd name="connsiteY6" fmla="*/ 255176 h 2491694"/>
              <a:gd name="connsiteX7" fmla="*/ 2236520 w 2491377"/>
              <a:gd name="connsiteY7" fmla="*/ 40993 h 2491694"/>
              <a:gd name="connsiteX8" fmla="*/ 254858 w 2491377"/>
              <a:gd name="connsiteY8" fmla="*/ 40993 h 2491694"/>
              <a:gd name="connsiteX9" fmla="*/ 40676 w 2491377"/>
              <a:gd name="connsiteY9" fmla="*/ 255176 h 2491694"/>
              <a:gd name="connsiteX10" fmla="*/ 40676 w 2491377"/>
              <a:gd name="connsiteY10" fmla="*/ 1246006 h 2491694"/>
              <a:gd name="connsiteX11" fmla="*/ 20338 w 2491377"/>
              <a:gd name="connsiteY11" fmla="*/ 1266344 h 2491694"/>
              <a:gd name="connsiteX12" fmla="*/ 0 w 2491377"/>
              <a:gd name="connsiteY12" fmla="*/ 1246006 h 2491694"/>
              <a:gd name="connsiteX13" fmla="*/ 0 w 2491377"/>
              <a:gd name="connsiteY13" fmla="*/ 255176 h 2491694"/>
              <a:gd name="connsiteX14" fmla="*/ 254858 w 2491377"/>
              <a:gd name="connsiteY14" fmla="*/ 0 h 2491694"/>
              <a:gd name="connsiteX15" fmla="*/ 2236202 w 2491377"/>
              <a:gd name="connsiteY15" fmla="*/ 0 h 2491694"/>
              <a:gd name="connsiteX16" fmla="*/ 2491378 w 2491377"/>
              <a:gd name="connsiteY16" fmla="*/ 255176 h 2491694"/>
              <a:gd name="connsiteX17" fmla="*/ 2491378 w 2491377"/>
              <a:gd name="connsiteY17" fmla="*/ 2236520 h 2491694"/>
              <a:gd name="connsiteX18" fmla="*/ 2236202 w 2491377"/>
              <a:gd name="connsiteY18" fmla="*/ 2491695 h 2491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491377" h="2491694">
                <a:moveTo>
                  <a:pt x="2236202" y="2491695"/>
                </a:moveTo>
                <a:lnTo>
                  <a:pt x="1245689" y="2491695"/>
                </a:lnTo>
                <a:cubicBezTo>
                  <a:pt x="1234567" y="2491695"/>
                  <a:pt x="1225351" y="2482480"/>
                  <a:pt x="1225351" y="2471357"/>
                </a:cubicBezTo>
                <a:cubicBezTo>
                  <a:pt x="1225351" y="2460235"/>
                  <a:pt x="1234567" y="2451020"/>
                  <a:pt x="1245689" y="2451020"/>
                </a:cubicBezTo>
                <a:lnTo>
                  <a:pt x="2236520" y="2451020"/>
                </a:lnTo>
                <a:cubicBezTo>
                  <a:pt x="2354733" y="2451020"/>
                  <a:pt x="2450702" y="2355051"/>
                  <a:pt x="2450702" y="2236837"/>
                </a:cubicBezTo>
                <a:lnTo>
                  <a:pt x="2450702" y="255176"/>
                </a:lnTo>
                <a:cubicBezTo>
                  <a:pt x="2450702" y="136962"/>
                  <a:pt x="2354733" y="40993"/>
                  <a:pt x="2236520" y="40993"/>
                </a:cubicBezTo>
                <a:lnTo>
                  <a:pt x="254858" y="40993"/>
                </a:lnTo>
                <a:cubicBezTo>
                  <a:pt x="136644" y="40993"/>
                  <a:pt x="40676" y="136962"/>
                  <a:pt x="40676" y="255176"/>
                </a:cubicBezTo>
                <a:lnTo>
                  <a:pt x="40676" y="1246006"/>
                </a:lnTo>
                <a:cubicBezTo>
                  <a:pt x="40676" y="1257129"/>
                  <a:pt x="31460" y="1266344"/>
                  <a:pt x="20338" y="1266344"/>
                </a:cubicBezTo>
                <a:cubicBezTo>
                  <a:pt x="9216" y="1266344"/>
                  <a:pt x="0" y="1257129"/>
                  <a:pt x="0" y="1246006"/>
                </a:cubicBezTo>
                <a:lnTo>
                  <a:pt x="0" y="255176"/>
                </a:lnTo>
                <a:cubicBezTo>
                  <a:pt x="0" y="114400"/>
                  <a:pt x="114400" y="0"/>
                  <a:pt x="254858" y="0"/>
                </a:cubicBezTo>
                <a:lnTo>
                  <a:pt x="2236202" y="0"/>
                </a:lnTo>
                <a:cubicBezTo>
                  <a:pt x="2376978" y="0"/>
                  <a:pt x="2491378" y="114400"/>
                  <a:pt x="2491378" y="255176"/>
                </a:cubicBezTo>
                <a:lnTo>
                  <a:pt x="2491378" y="2236520"/>
                </a:lnTo>
                <a:cubicBezTo>
                  <a:pt x="2491378" y="2377295"/>
                  <a:pt x="2376978" y="2491695"/>
                  <a:pt x="2236202" y="2491695"/>
                </a:cubicBezTo>
                <a:close/>
              </a:path>
            </a:pathLst>
          </a:custGeom>
          <a:solidFill>
            <a:srgbClr val="002060"/>
          </a:solidFill>
          <a:ln w="317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0CABA7A8-799E-E165-A340-193963D93D29}"/>
              </a:ext>
            </a:extLst>
          </p:cNvPr>
          <p:cNvSpPr txBox="1"/>
          <p:nvPr/>
        </p:nvSpPr>
        <p:spPr>
          <a:xfrm>
            <a:off x="2469917" y="3683184"/>
            <a:ext cx="1944000" cy="32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i="0" u="none" strike="noStrike" kern="0" cap="none" spc="0" normalizeH="0" baseline="0" noProof="0" dirty="0" err="1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Zhenggang</a:t>
            </a: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Zhang</a:t>
            </a:r>
          </a:p>
        </p:txBody>
      </p:sp>
      <p:sp>
        <p:nvSpPr>
          <p:cNvPr id="159" name="Freeform: Shape 158">
            <a:extLst>
              <a:ext uri="{FF2B5EF4-FFF2-40B4-BE49-F238E27FC236}">
                <a16:creationId xmlns:a16="http://schemas.microsoft.com/office/drawing/2014/main" id="{B5DFE645-E265-5200-FBED-17606140A3E1}"/>
              </a:ext>
            </a:extLst>
          </p:cNvPr>
          <p:cNvSpPr/>
          <p:nvPr/>
        </p:nvSpPr>
        <p:spPr>
          <a:xfrm>
            <a:off x="5234501" y="1040764"/>
            <a:ext cx="820077" cy="820077"/>
          </a:xfrm>
          <a:custGeom>
            <a:avLst/>
            <a:gdLst>
              <a:gd name="connsiteX0" fmla="*/ 1871076 w 2090660"/>
              <a:gd name="connsiteY0" fmla="*/ 2090660 h 2090659"/>
              <a:gd name="connsiteX1" fmla="*/ 219584 w 2090660"/>
              <a:gd name="connsiteY1" fmla="*/ 2090660 h 2090659"/>
              <a:gd name="connsiteX2" fmla="*/ 0 w 2090660"/>
              <a:gd name="connsiteY2" fmla="*/ 1871075 h 2090659"/>
              <a:gd name="connsiteX3" fmla="*/ 0 w 2090660"/>
              <a:gd name="connsiteY3" fmla="*/ 219584 h 2090659"/>
              <a:gd name="connsiteX4" fmla="*/ 219584 w 2090660"/>
              <a:gd name="connsiteY4" fmla="*/ 0 h 2090659"/>
              <a:gd name="connsiteX5" fmla="*/ 1871076 w 2090660"/>
              <a:gd name="connsiteY5" fmla="*/ 0 h 2090659"/>
              <a:gd name="connsiteX6" fmla="*/ 2090660 w 2090660"/>
              <a:gd name="connsiteY6" fmla="*/ 219584 h 2090659"/>
              <a:gd name="connsiteX7" fmla="*/ 2090660 w 2090660"/>
              <a:gd name="connsiteY7" fmla="*/ 1871075 h 2090659"/>
              <a:gd name="connsiteX8" fmla="*/ 1871076 w 2090660"/>
              <a:gd name="connsiteY8" fmla="*/ 2090660 h 2090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90660" h="2090659">
                <a:moveTo>
                  <a:pt x="1871076" y="2090660"/>
                </a:moveTo>
                <a:lnTo>
                  <a:pt x="219584" y="2090660"/>
                </a:lnTo>
                <a:cubicBezTo>
                  <a:pt x="98193" y="2090660"/>
                  <a:pt x="0" y="1992149"/>
                  <a:pt x="0" y="1871075"/>
                </a:cubicBezTo>
                <a:lnTo>
                  <a:pt x="0" y="219584"/>
                </a:lnTo>
                <a:cubicBezTo>
                  <a:pt x="0" y="98193"/>
                  <a:pt x="98511" y="0"/>
                  <a:pt x="219584" y="0"/>
                </a:cubicBezTo>
                <a:lnTo>
                  <a:pt x="1871076" y="0"/>
                </a:lnTo>
                <a:cubicBezTo>
                  <a:pt x="1992467" y="0"/>
                  <a:pt x="2090660" y="98511"/>
                  <a:pt x="2090660" y="219584"/>
                </a:cubicBezTo>
                <a:lnTo>
                  <a:pt x="2090660" y="1871075"/>
                </a:lnTo>
                <a:cubicBezTo>
                  <a:pt x="2090660" y="1992466"/>
                  <a:pt x="1992467" y="2090660"/>
                  <a:pt x="1871076" y="2090660"/>
                </a:cubicBezTo>
                <a:close/>
              </a:path>
            </a:pathLst>
          </a:custGeom>
          <a:solidFill>
            <a:schemeClr val="bg1"/>
          </a:solidFill>
          <a:ln w="3178" cap="flat">
            <a:noFill/>
            <a:prstDash val="solid"/>
            <a:miter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60" name="Freeform: Shape 159">
            <a:extLst>
              <a:ext uri="{FF2B5EF4-FFF2-40B4-BE49-F238E27FC236}">
                <a16:creationId xmlns:a16="http://schemas.microsoft.com/office/drawing/2014/main" id="{C06E4411-9841-B749-51AF-6FE41639F8A1}"/>
              </a:ext>
            </a:extLst>
          </p:cNvPr>
          <p:cNvSpPr/>
          <p:nvPr/>
        </p:nvSpPr>
        <p:spPr>
          <a:xfrm>
            <a:off x="5155223" y="1478787"/>
            <a:ext cx="497979" cy="461332"/>
          </a:xfrm>
          <a:custGeom>
            <a:avLst/>
            <a:gdLst>
              <a:gd name="connsiteX0" fmla="*/ 1247596 w 1269522"/>
              <a:gd name="connsiteY0" fmla="*/ 1176095 h 1176095"/>
              <a:gd name="connsiteX1" fmla="*/ 1230753 w 1269522"/>
              <a:gd name="connsiteY1" fmla="*/ 1176095 h 1176095"/>
              <a:gd name="connsiteX2" fmla="*/ 1208827 w 1269522"/>
              <a:gd name="connsiteY2" fmla="*/ 1154169 h 1176095"/>
              <a:gd name="connsiteX3" fmla="*/ 1230753 w 1269522"/>
              <a:gd name="connsiteY3" fmla="*/ 1132242 h 1176095"/>
              <a:gd name="connsiteX4" fmla="*/ 1247596 w 1269522"/>
              <a:gd name="connsiteY4" fmla="*/ 1132242 h 1176095"/>
              <a:gd name="connsiteX5" fmla="*/ 1269522 w 1269522"/>
              <a:gd name="connsiteY5" fmla="*/ 1154169 h 1176095"/>
              <a:gd name="connsiteX6" fmla="*/ 1247596 w 1269522"/>
              <a:gd name="connsiteY6" fmla="*/ 1176095 h 1176095"/>
              <a:gd name="connsiteX7" fmla="*/ 1060742 w 1269522"/>
              <a:gd name="connsiteY7" fmla="*/ 1176095 h 1176095"/>
              <a:gd name="connsiteX8" fmla="*/ 1043900 w 1269522"/>
              <a:gd name="connsiteY8" fmla="*/ 1176095 h 1176095"/>
              <a:gd name="connsiteX9" fmla="*/ 1021973 w 1269522"/>
              <a:gd name="connsiteY9" fmla="*/ 1154169 h 1176095"/>
              <a:gd name="connsiteX10" fmla="*/ 1043900 w 1269522"/>
              <a:gd name="connsiteY10" fmla="*/ 1132242 h 1176095"/>
              <a:gd name="connsiteX11" fmla="*/ 1060742 w 1269522"/>
              <a:gd name="connsiteY11" fmla="*/ 1132242 h 1176095"/>
              <a:gd name="connsiteX12" fmla="*/ 1082669 w 1269522"/>
              <a:gd name="connsiteY12" fmla="*/ 1154169 h 1176095"/>
              <a:gd name="connsiteX13" fmla="*/ 1060742 w 1269522"/>
              <a:gd name="connsiteY13" fmla="*/ 1176095 h 1176095"/>
              <a:gd name="connsiteX14" fmla="*/ 874207 w 1269522"/>
              <a:gd name="connsiteY14" fmla="*/ 1176095 h 1176095"/>
              <a:gd name="connsiteX15" fmla="*/ 857364 w 1269522"/>
              <a:gd name="connsiteY15" fmla="*/ 1176095 h 1176095"/>
              <a:gd name="connsiteX16" fmla="*/ 835438 w 1269522"/>
              <a:gd name="connsiteY16" fmla="*/ 1154169 h 1176095"/>
              <a:gd name="connsiteX17" fmla="*/ 857364 w 1269522"/>
              <a:gd name="connsiteY17" fmla="*/ 1132242 h 1176095"/>
              <a:gd name="connsiteX18" fmla="*/ 874207 w 1269522"/>
              <a:gd name="connsiteY18" fmla="*/ 1132242 h 1176095"/>
              <a:gd name="connsiteX19" fmla="*/ 896133 w 1269522"/>
              <a:gd name="connsiteY19" fmla="*/ 1154169 h 1176095"/>
              <a:gd name="connsiteX20" fmla="*/ 874207 w 1269522"/>
              <a:gd name="connsiteY20" fmla="*/ 1176095 h 1176095"/>
              <a:gd name="connsiteX21" fmla="*/ 687353 w 1269522"/>
              <a:gd name="connsiteY21" fmla="*/ 1176095 h 1176095"/>
              <a:gd name="connsiteX22" fmla="*/ 670511 w 1269522"/>
              <a:gd name="connsiteY22" fmla="*/ 1176095 h 1176095"/>
              <a:gd name="connsiteX23" fmla="*/ 648584 w 1269522"/>
              <a:gd name="connsiteY23" fmla="*/ 1154169 h 1176095"/>
              <a:gd name="connsiteX24" fmla="*/ 670511 w 1269522"/>
              <a:gd name="connsiteY24" fmla="*/ 1132242 h 1176095"/>
              <a:gd name="connsiteX25" fmla="*/ 687353 w 1269522"/>
              <a:gd name="connsiteY25" fmla="*/ 1132242 h 1176095"/>
              <a:gd name="connsiteX26" fmla="*/ 709280 w 1269522"/>
              <a:gd name="connsiteY26" fmla="*/ 1154169 h 1176095"/>
              <a:gd name="connsiteX27" fmla="*/ 687353 w 1269522"/>
              <a:gd name="connsiteY27" fmla="*/ 1176095 h 1176095"/>
              <a:gd name="connsiteX28" fmla="*/ 500818 w 1269522"/>
              <a:gd name="connsiteY28" fmla="*/ 1176095 h 1176095"/>
              <a:gd name="connsiteX29" fmla="*/ 483976 w 1269522"/>
              <a:gd name="connsiteY29" fmla="*/ 1176095 h 1176095"/>
              <a:gd name="connsiteX30" fmla="*/ 462049 w 1269522"/>
              <a:gd name="connsiteY30" fmla="*/ 1154169 h 1176095"/>
              <a:gd name="connsiteX31" fmla="*/ 483976 w 1269522"/>
              <a:gd name="connsiteY31" fmla="*/ 1132242 h 1176095"/>
              <a:gd name="connsiteX32" fmla="*/ 500818 w 1269522"/>
              <a:gd name="connsiteY32" fmla="*/ 1132242 h 1176095"/>
              <a:gd name="connsiteX33" fmla="*/ 522744 w 1269522"/>
              <a:gd name="connsiteY33" fmla="*/ 1154169 h 1176095"/>
              <a:gd name="connsiteX34" fmla="*/ 500818 w 1269522"/>
              <a:gd name="connsiteY34" fmla="*/ 1176095 h 1176095"/>
              <a:gd name="connsiteX35" fmla="*/ 313964 w 1269522"/>
              <a:gd name="connsiteY35" fmla="*/ 1176095 h 1176095"/>
              <a:gd name="connsiteX36" fmla="*/ 297122 w 1269522"/>
              <a:gd name="connsiteY36" fmla="*/ 1176095 h 1176095"/>
              <a:gd name="connsiteX37" fmla="*/ 275196 w 1269522"/>
              <a:gd name="connsiteY37" fmla="*/ 1154169 h 1176095"/>
              <a:gd name="connsiteX38" fmla="*/ 297122 w 1269522"/>
              <a:gd name="connsiteY38" fmla="*/ 1132242 h 1176095"/>
              <a:gd name="connsiteX39" fmla="*/ 313964 w 1269522"/>
              <a:gd name="connsiteY39" fmla="*/ 1132242 h 1176095"/>
              <a:gd name="connsiteX40" fmla="*/ 335891 w 1269522"/>
              <a:gd name="connsiteY40" fmla="*/ 1154169 h 1176095"/>
              <a:gd name="connsiteX41" fmla="*/ 313964 w 1269522"/>
              <a:gd name="connsiteY41" fmla="*/ 1176095 h 1176095"/>
              <a:gd name="connsiteX42" fmla="*/ 133784 w 1269522"/>
              <a:gd name="connsiteY42" fmla="*/ 1141458 h 1176095"/>
              <a:gd name="connsiteX43" fmla="*/ 122344 w 1269522"/>
              <a:gd name="connsiteY43" fmla="*/ 1138280 h 1176095"/>
              <a:gd name="connsiteX44" fmla="*/ 106773 w 1269522"/>
              <a:gd name="connsiteY44" fmla="*/ 1128111 h 1176095"/>
              <a:gd name="connsiteX45" fmla="*/ 101689 w 1269522"/>
              <a:gd name="connsiteY45" fmla="*/ 1097286 h 1176095"/>
              <a:gd name="connsiteX46" fmla="*/ 132513 w 1269522"/>
              <a:gd name="connsiteY46" fmla="*/ 1092202 h 1176095"/>
              <a:gd name="connsiteX47" fmla="*/ 145224 w 1269522"/>
              <a:gd name="connsiteY47" fmla="*/ 1100782 h 1176095"/>
              <a:gd name="connsiteX48" fmla="*/ 152533 w 1269522"/>
              <a:gd name="connsiteY48" fmla="*/ 1131289 h 1176095"/>
              <a:gd name="connsiteX49" fmla="*/ 133784 w 1269522"/>
              <a:gd name="connsiteY49" fmla="*/ 1141458 h 1176095"/>
              <a:gd name="connsiteX50" fmla="*/ 27964 w 1269522"/>
              <a:gd name="connsiteY50" fmla="*/ 993691 h 1176095"/>
              <a:gd name="connsiteX51" fmla="*/ 6356 w 1269522"/>
              <a:gd name="connsiteY51" fmla="*/ 976531 h 1176095"/>
              <a:gd name="connsiteX52" fmla="*/ 2860 w 1269522"/>
              <a:gd name="connsiteY52" fmla="*/ 958418 h 1176095"/>
              <a:gd name="connsiteX53" fmla="*/ 21291 w 1269522"/>
              <a:gd name="connsiteY53" fmla="*/ 933313 h 1176095"/>
              <a:gd name="connsiteX54" fmla="*/ 46396 w 1269522"/>
              <a:gd name="connsiteY54" fmla="*/ 951744 h 1176095"/>
              <a:gd name="connsiteX55" fmla="*/ 49256 w 1269522"/>
              <a:gd name="connsiteY55" fmla="*/ 966998 h 1176095"/>
              <a:gd name="connsiteX56" fmla="*/ 32731 w 1269522"/>
              <a:gd name="connsiteY56" fmla="*/ 993373 h 1176095"/>
              <a:gd name="connsiteX57" fmla="*/ 27964 w 1269522"/>
              <a:gd name="connsiteY57" fmla="*/ 993691 h 1176095"/>
              <a:gd name="connsiteX58" fmla="*/ 21927 w 1269522"/>
              <a:gd name="connsiteY58" fmla="*/ 807473 h 1176095"/>
              <a:gd name="connsiteX59" fmla="*/ 0 w 1269522"/>
              <a:gd name="connsiteY59" fmla="*/ 785547 h 1176095"/>
              <a:gd name="connsiteX60" fmla="*/ 0 w 1269522"/>
              <a:gd name="connsiteY60" fmla="*/ 768704 h 1176095"/>
              <a:gd name="connsiteX61" fmla="*/ 21927 w 1269522"/>
              <a:gd name="connsiteY61" fmla="*/ 746778 h 1176095"/>
              <a:gd name="connsiteX62" fmla="*/ 43853 w 1269522"/>
              <a:gd name="connsiteY62" fmla="*/ 768704 h 1176095"/>
              <a:gd name="connsiteX63" fmla="*/ 43853 w 1269522"/>
              <a:gd name="connsiteY63" fmla="*/ 785547 h 1176095"/>
              <a:gd name="connsiteX64" fmla="*/ 21927 w 1269522"/>
              <a:gd name="connsiteY64" fmla="*/ 807473 h 1176095"/>
              <a:gd name="connsiteX65" fmla="*/ 21927 w 1269522"/>
              <a:gd name="connsiteY65" fmla="*/ 620620 h 1176095"/>
              <a:gd name="connsiteX66" fmla="*/ 0 w 1269522"/>
              <a:gd name="connsiteY66" fmla="*/ 598693 h 1176095"/>
              <a:gd name="connsiteX67" fmla="*/ 0 w 1269522"/>
              <a:gd name="connsiteY67" fmla="*/ 581533 h 1176095"/>
              <a:gd name="connsiteX68" fmla="*/ 21927 w 1269522"/>
              <a:gd name="connsiteY68" fmla="*/ 559606 h 1176095"/>
              <a:gd name="connsiteX69" fmla="*/ 43853 w 1269522"/>
              <a:gd name="connsiteY69" fmla="*/ 581533 h 1176095"/>
              <a:gd name="connsiteX70" fmla="*/ 43853 w 1269522"/>
              <a:gd name="connsiteY70" fmla="*/ 598375 h 1176095"/>
              <a:gd name="connsiteX71" fmla="*/ 21927 w 1269522"/>
              <a:gd name="connsiteY71" fmla="*/ 620620 h 1176095"/>
              <a:gd name="connsiteX72" fmla="*/ 21927 w 1269522"/>
              <a:gd name="connsiteY72" fmla="*/ 434084 h 1176095"/>
              <a:gd name="connsiteX73" fmla="*/ 0 w 1269522"/>
              <a:gd name="connsiteY73" fmla="*/ 412158 h 1176095"/>
              <a:gd name="connsiteX74" fmla="*/ 0 w 1269522"/>
              <a:gd name="connsiteY74" fmla="*/ 395316 h 1176095"/>
              <a:gd name="connsiteX75" fmla="*/ 21927 w 1269522"/>
              <a:gd name="connsiteY75" fmla="*/ 373389 h 1176095"/>
              <a:gd name="connsiteX76" fmla="*/ 43853 w 1269522"/>
              <a:gd name="connsiteY76" fmla="*/ 395316 h 1176095"/>
              <a:gd name="connsiteX77" fmla="*/ 43853 w 1269522"/>
              <a:gd name="connsiteY77" fmla="*/ 412158 h 1176095"/>
              <a:gd name="connsiteX78" fmla="*/ 21927 w 1269522"/>
              <a:gd name="connsiteY78" fmla="*/ 434084 h 1176095"/>
              <a:gd name="connsiteX79" fmla="*/ 21927 w 1269522"/>
              <a:gd name="connsiteY79" fmla="*/ 247231 h 1176095"/>
              <a:gd name="connsiteX80" fmla="*/ 0 w 1269522"/>
              <a:gd name="connsiteY80" fmla="*/ 225304 h 1176095"/>
              <a:gd name="connsiteX81" fmla="*/ 0 w 1269522"/>
              <a:gd name="connsiteY81" fmla="*/ 208462 h 1176095"/>
              <a:gd name="connsiteX82" fmla="*/ 21927 w 1269522"/>
              <a:gd name="connsiteY82" fmla="*/ 186536 h 1176095"/>
              <a:gd name="connsiteX83" fmla="*/ 43853 w 1269522"/>
              <a:gd name="connsiteY83" fmla="*/ 208462 h 1176095"/>
              <a:gd name="connsiteX84" fmla="*/ 43853 w 1269522"/>
              <a:gd name="connsiteY84" fmla="*/ 225304 h 1176095"/>
              <a:gd name="connsiteX85" fmla="*/ 21927 w 1269522"/>
              <a:gd name="connsiteY85" fmla="*/ 247231 h 1176095"/>
              <a:gd name="connsiteX86" fmla="*/ 21927 w 1269522"/>
              <a:gd name="connsiteY86" fmla="*/ 60696 h 1176095"/>
              <a:gd name="connsiteX87" fmla="*/ 0 w 1269522"/>
              <a:gd name="connsiteY87" fmla="*/ 38769 h 1176095"/>
              <a:gd name="connsiteX88" fmla="*/ 0 w 1269522"/>
              <a:gd name="connsiteY88" fmla="*/ 21927 h 1176095"/>
              <a:gd name="connsiteX89" fmla="*/ 21927 w 1269522"/>
              <a:gd name="connsiteY89" fmla="*/ 0 h 1176095"/>
              <a:gd name="connsiteX90" fmla="*/ 43853 w 1269522"/>
              <a:gd name="connsiteY90" fmla="*/ 21927 h 1176095"/>
              <a:gd name="connsiteX91" fmla="*/ 43853 w 1269522"/>
              <a:gd name="connsiteY91" fmla="*/ 38769 h 1176095"/>
              <a:gd name="connsiteX92" fmla="*/ 21927 w 1269522"/>
              <a:gd name="connsiteY92" fmla="*/ 60696 h 1176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</a:cxnLst>
            <a:rect l="l" t="t" r="r" b="b"/>
            <a:pathLst>
              <a:path w="1269522" h="1176095">
                <a:moveTo>
                  <a:pt x="1247596" y="1176095"/>
                </a:moveTo>
                <a:lnTo>
                  <a:pt x="1230753" y="1176095"/>
                </a:lnTo>
                <a:cubicBezTo>
                  <a:pt x="1218678" y="1176095"/>
                  <a:pt x="1208827" y="1166244"/>
                  <a:pt x="1208827" y="1154169"/>
                </a:cubicBezTo>
                <a:cubicBezTo>
                  <a:pt x="1208827" y="1142093"/>
                  <a:pt x="1218678" y="1132242"/>
                  <a:pt x="1230753" y="1132242"/>
                </a:cubicBezTo>
                <a:lnTo>
                  <a:pt x="1247596" y="1132242"/>
                </a:lnTo>
                <a:cubicBezTo>
                  <a:pt x="1259671" y="1132242"/>
                  <a:pt x="1269522" y="1142093"/>
                  <a:pt x="1269522" y="1154169"/>
                </a:cubicBezTo>
                <a:cubicBezTo>
                  <a:pt x="1269522" y="1166244"/>
                  <a:pt x="1259671" y="1176095"/>
                  <a:pt x="1247596" y="1176095"/>
                </a:cubicBezTo>
                <a:close/>
                <a:moveTo>
                  <a:pt x="1060742" y="1176095"/>
                </a:moveTo>
                <a:lnTo>
                  <a:pt x="1043900" y="1176095"/>
                </a:lnTo>
                <a:cubicBezTo>
                  <a:pt x="1031825" y="1176095"/>
                  <a:pt x="1021973" y="1166244"/>
                  <a:pt x="1021973" y="1154169"/>
                </a:cubicBezTo>
                <a:cubicBezTo>
                  <a:pt x="1021973" y="1142093"/>
                  <a:pt x="1031825" y="1132242"/>
                  <a:pt x="1043900" y="1132242"/>
                </a:cubicBezTo>
                <a:lnTo>
                  <a:pt x="1060742" y="1132242"/>
                </a:lnTo>
                <a:cubicBezTo>
                  <a:pt x="1072818" y="1132242"/>
                  <a:pt x="1082669" y="1142093"/>
                  <a:pt x="1082669" y="1154169"/>
                </a:cubicBezTo>
                <a:cubicBezTo>
                  <a:pt x="1082669" y="1166244"/>
                  <a:pt x="1072818" y="1176095"/>
                  <a:pt x="1060742" y="1176095"/>
                </a:cubicBezTo>
                <a:close/>
                <a:moveTo>
                  <a:pt x="874207" y="1176095"/>
                </a:moveTo>
                <a:lnTo>
                  <a:pt x="857364" y="1176095"/>
                </a:lnTo>
                <a:cubicBezTo>
                  <a:pt x="845289" y="1176095"/>
                  <a:pt x="835438" y="1166244"/>
                  <a:pt x="835438" y="1154169"/>
                </a:cubicBezTo>
                <a:cubicBezTo>
                  <a:pt x="835438" y="1142093"/>
                  <a:pt x="845289" y="1132242"/>
                  <a:pt x="857364" y="1132242"/>
                </a:cubicBezTo>
                <a:lnTo>
                  <a:pt x="874207" y="1132242"/>
                </a:lnTo>
                <a:cubicBezTo>
                  <a:pt x="886282" y="1132242"/>
                  <a:pt x="896133" y="1142093"/>
                  <a:pt x="896133" y="1154169"/>
                </a:cubicBezTo>
                <a:cubicBezTo>
                  <a:pt x="896133" y="1166244"/>
                  <a:pt x="886282" y="1176095"/>
                  <a:pt x="874207" y="1176095"/>
                </a:cubicBezTo>
                <a:close/>
                <a:moveTo>
                  <a:pt x="687353" y="1176095"/>
                </a:moveTo>
                <a:lnTo>
                  <a:pt x="670511" y="1176095"/>
                </a:lnTo>
                <a:cubicBezTo>
                  <a:pt x="658436" y="1176095"/>
                  <a:pt x="648584" y="1166244"/>
                  <a:pt x="648584" y="1154169"/>
                </a:cubicBezTo>
                <a:cubicBezTo>
                  <a:pt x="648584" y="1142093"/>
                  <a:pt x="658436" y="1132242"/>
                  <a:pt x="670511" y="1132242"/>
                </a:cubicBezTo>
                <a:lnTo>
                  <a:pt x="687353" y="1132242"/>
                </a:lnTo>
                <a:cubicBezTo>
                  <a:pt x="699429" y="1132242"/>
                  <a:pt x="709280" y="1142093"/>
                  <a:pt x="709280" y="1154169"/>
                </a:cubicBezTo>
                <a:cubicBezTo>
                  <a:pt x="709280" y="1166244"/>
                  <a:pt x="699429" y="1176095"/>
                  <a:pt x="687353" y="1176095"/>
                </a:cubicBezTo>
                <a:close/>
                <a:moveTo>
                  <a:pt x="500818" y="1176095"/>
                </a:moveTo>
                <a:lnTo>
                  <a:pt x="483976" y="1176095"/>
                </a:lnTo>
                <a:cubicBezTo>
                  <a:pt x="471900" y="1176095"/>
                  <a:pt x="462049" y="1166244"/>
                  <a:pt x="462049" y="1154169"/>
                </a:cubicBezTo>
                <a:cubicBezTo>
                  <a:pt x="462049" y="1142093"/>
                  <a:pt x="471900" y="1132242"/>
                  <a:pt x="483976" y="1132242"/>
                </a:cubicBezTo>
                <a:lnTo>
                  <a:pt x="500818" y="1132242"/>
                </a:lnTo>
                <a:cubicBezTo>
                  <a:pt x="512893" y="1132242"/>
                  <a:pt x="522744" y="1142093"/>
                  <a:pt x="522744" y="1154169"/>
                </a:cubicBezTo>
                <a:cubicBezTo>
                  <a:pt x="522744" y="1166244"/>
                  <a:pt x="512893" y="1176095"/>
                  <a:pt x="500818" y="1176095"/>
                </a:cubicBezTo>
                <a:close/>
                <a:moveTo>
                  <a:pt x="313964" y="1176095"/>
                </a:moveTo>
                <a:lnTo>
                  <a:pt x="297122" y="1176095"/>
                </a:lnTo>
                <a:cubicBezTo>
                  <a:pt x="285047" y="1176095"/>
                  <a:pt x="275196" y="1166244"/>
                  <a:pt x="275196" y="1154169"/>
                </a:cubicBezTo>
                <a:cubicBezTo>
                  <a:pt x="275196" y="1142093"/>
                  <a:pt x="285047" y="1132242"/>
                  <a:pt x="297122" y="1132242"/>
                </a:cubicBezTo>
                <a:lnTo>
                  <a:pt x="313964" y="1132242"/>
                </a:lnTo>
                <a:cubicBezTo>
                  <a:pt x="326040" y="1132242"/>
                  <a:pt x="335891" y="1142093"/>
                  <a:pt x="335891" y="1154169"/>
                </a:cubicBezTo>
                <a:cubicBezTo>
                  <a:pt x="335891" y="1166244"/>
                  <a:pt x="326040" y="1176095"/>
                  <a:pt x="313964" y="1176095"/>
                </a:cubicBezTo>
                <a:close/>
                <a:moveTo>
                  <a:pt x="133784" y="1141458"/>
                </a:moveTo>
                <a:cubicBezTo>
                  <a:pt x="129971" y="1141458"/>
                  <a:pt x="125840" y="1140504"/>
                  <a:pt x="122344" y="1138280"/>
                </a:cubicBezTo>
                <a:cubicBezTo>
                  <a:pt x="116942" y="1135102"/>
                  <a:pt x="111858" y="1131606"/>
                  <a:pt x="106773" y="1128111"/>
                </a:cubicBezTo>
                <a:cubicBezTo>
                  <a:pt x="96922" y="1121120"/>
                  <a:pt x="94698" y="1107138"/>
                  <a:pt x="101689" y="1097286"/>
                </a:cubicBezTo>
                <a:cubicBezTo>
                  <a:pt x="108680" y="1087435"/>
                  <a:pt x="122662" y="1085211"/>
                  <a:pt x="132513" y="1092202"/>
                </a:cubicBezTo>
                <a:cubicBezTo>
                  <a:pt x="136644" y="1095062"/>
                  <a:pt x="141093" y="1097922"/>
                  <a:pt x="145224" y="1100782"/>
                </a:cubicBezTo>
                <a:cubicBezTo>
                  <a:pt x="155711" y="1107138"/>
                  <a:pt x="158889" y="1120802"/>
                  <a:pt x="152533" y="1131289"/>
                </a:cubicBezTo>
                <a:cubicBezTo>
                  <a:pt x="148402" y="1137644"/>
                  <a:pt x="141093" y="1141458"/>
                  <a:pt x="133784" y="1141458"/>
                </a:cubicBezTo>
                <a:close/>
                <a:moveTo>
                  <a:pt x="27964" y="993691"/>
                </a:moveTo>
                <a:cubicBezTo>
                  <a:pt x="17796" y="993691"/>
                  <a:pt x="8898" y="986700"/>
                  <a:pt x="6356" y="976531"/>
                </a:cubicBezTo>
                <a:cubicBezTo>
                  <a:pt x="5084" y="970493"/>
                  <a:pt x="3813" y="964455"/>
                  <a:pt x="2860" y="958418"/>
                </a:cubicBezTo>
                <a:cubicBezTo>
                  <a:pt x="953" y="946342"/>
                  <a:pt x="9216" y="935220"/>
                  <a:pt x="21291" y="933313"/>
                </a:cubicBezTo>
                <a:cubicBezTo>
                  <a:pt x="33367" y="931406"/>
                  <a:pt x="44489" y="939669"/>
                  <a:pt x="46396" y="951744"/>
                </a:cubicBezTo>
                <a:cubicBezTo>
                  <a:pt x="47031" y="956829"/>
                  <a:pt x="47984" y="961913"/>
                  <a:pt x="49256" y="966998"/>
                </a:cubicBezTo>
                <a:cubicBezTo>
                  <a:pt x="51798" y="978755"/>
                  <a:pt x="44489" y="990831"/>
                  <a:pt x="32731" y="993373"/>
                </a:cubicBezTo>
                <a:cubicBezTo>
                  <a:pt x="31142" y="993373"/>
                  <a:pt x="29553" y="993691"/>
                  <a:pt x="27964" y="993691"/>
                </a:cubicBezTo>
                <a:close/>
                <a:moveTo>
                  <a:pt x="21927" y="807473"/>
                </a:moveTo>
                <a:cubicBezTo>
                  <a:pt x="9851" y="807473"/>
                  <a:pt x="0" y="797622"/>
                  <a:pt x="0" y="785547"/>
                </a:cubicBezTo>
                <a:lnTo>
                  <a:pt x="0" y="768704"/>
                </a:lnTo>
                <a:cubicBezTo>
                  <a:pt x="0" y="756629"/>
                  <a:pt x="9851" y="746778"/>
                  <a:pt x="21927" y="746778"/>
                </a:cubicBezTo>
                <a:cubicBezTo>
                  <a:pt x="34002" y="746778"/>
                  <a:pt x="43853" y="756629"/>
                  <a:pt x="43853" y="768704"/>
                </a:cubicBezTo>
                <a:lnTo>
                  <a:pt x="43853" y="785547"/>
                </a:lnTo>
                <a:cubicBezTo>
                  <a:pt x="44171" y="797622"/>
                  <a:pt x="34320" y="807473"/>
                  <a:pt x="21927" y="807473"/>
                </a:cubicBezTo>
                <a:close/>
                <a:moveTo>
                  <a:pt x="21927" y="620620"/>
                </a:moveTo>
                <a:cubicBezTo>
                  <a:pt x="9851" y="620620"/>
                  <a:pt x="0" y="610769"/>
                  <a:pt x="0" y="598693"/>
                </a:cubicBezTo>
                <a:lnTo>
                  <a:pt x="0" y="581533"/>
                </a:lnTo>
                <a:cubicBezTo>
                  <a:pt x="0" y="569458"/>
                  <a:pt x="9851" y="559606"/>
                  <a:pt x="21927" y="559606"/>
                </a:cubicBezTo>
                <a:cubicBezTo>
                  <a:pt x="34002" y="559606"/>
                  <a:pt x="43853" y="569458"/>
                  <a:pt x="43853" y="581533"/>
                </a:cubicBezTo>
                <a:lnTo>
                  <a:pt x="43853" y="598375"/>
                </a:lnTo>
                <a:cubicBezTo>
                  <a:pt x="44171" y="610769"/>
                  <a:pt x="34320" y="620620"/>
                  <a:pt x="21927" y="620620"/>
                </a:cubicBezTo>
                <a:close/>
                <a:moveTo>
                  <a:pt x="21927" y="434084"/>
                </a:moveTo>
                <a:cubicBezTo>
                  <a:pt x="9851" y="434084"/>
                  <a:pt x="0" y="424233"/>
                  <a:pt x="0" y="412158"/>
                </a:cubicBezTo>
                <a:lnTo>
                  <a:pt x="0" y="395316"/>
                </a:lnTo>
                <a:cubicBezTo>
                  <a:pt x="0" y="383240"/>
                  <a:pt x="9851" y="373389"/>
                  <a:pt x="21927" y="373389"/>
                </a:cubicBezTo>
                <a:cubicBezTo>
                  <a:pt x="34002" y="373389"/>
                  <a:pt x="43853" y="383240"/>
                  <a:pt x="43853" y="395316"/>
                </a:cubicBezTo>
                <a:lnTo>
                  <a:pt x="43853" y="412158"/>
                </a:lnTo>
                <a:cubicBezTo>
                  <a:pt x="44171" y="424233"/>
                  <a:pt x="34320" y="434084"/>
                  <a:pt x="21927" y="434084"/>
                </a:cubicBezTo>
                <a:close/>
                <a:moveTo>
                  <a:pt x="21927" y="247231"/>
                </a:moveTo>
                <a:cubicBezTo>
                  <a:pt x="9851" y="247231"/>
                  <a:pt x="0" y="237380"/>
                  <a:pt x="0" y="225304"/>
                </a:cubicBezTo>
                <a:lnTo>
                  <a:pt x="0" y="208462"/>
                </a:lnTo>
                <a:cubicBezTo>
                  <a:pt x="0" y="196387"/>
                  <a:pt x="9851" y="186536"/>
                  <a:pt x="21927" y="186536"/>
                </a:cubicBezTo>
                <a:cubicBezTo>
                  <a:pt x="34002" y="186536"/>
                  <a:pt x="43853" y="196387"/>
                  <a:pt x="43853" y="208462"/>
                </a:cubicBezTo>
                <a:lnTo>
                  <a:pt x="43853" y="225304"/>
                </a:lnTo>
                <a:cubicBezTo>
                  <a:pt x="44171" y="237380"/>
                  <a:pt x="34320" y="247231"/>
                  <a:pt x="21927" y="247231"/>
                </a:cubicBezTo>
                <a:close/>
                <a:moveTo>
                  <a:pt x="21927" y="60696"/>
                </a:moveTo>
                <a:cubicBezTo>
                  <a:pt x="9851" y="60696"/>
                  <a:pt x="0" y="50844"/>
                  <a:pt x="0" y="38769"/>
                </a:cubicBezTo>
                <a:lnTo>
                  <a:pt x="0" y="21927"/>
                </a:lnTo>
                <a:cubicBezTo>
                  <a:pt x="0" y="9851"/>
                  <a:pt x="9851" y="0"/>
                  <a:pt x="21927" y="0"/>
                </a:cubicBezTo>
                <a:cubicBezTo>
                  <a:pt x="34002" y="0"/>
                  <a:pt x="43853" y="9851"/>
                  <a:pt x="43853" y="21927"/>
                </a:cubicBezTo>
                <a:lnTo>
                  <a:pt x="43853" y="38769"/>
                </a:lnTo>
                <a:cubicBezTo>
                  <a:pt x="44171" y="50844"/>
                  <a:pt x="34320" y="60696"/>
                  <a:pt x="21927" y="60696"/>
                </a:cubicBezTo>
                <a:close/>
              </a:path>
            </a:pathLst>
          </a:custGeom>
          <a:solidFill>
            <a:srgbClr val="002060"/>
          </a:solidFill>
          <a:ln w="317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61" name="Freeform: Shape 160">
            <a:extLst>
              <a:ext uri="{FF2B5EF4-FFF2-40B4-BE49-F238E27FC236}">
                <a16:creationId xmlns:a16="http://schemas.microsoft.com/office/drawing/2014/main" id="{B5CA5D40-491C-514B-845F-5B98736C351A}"/>
              </a:ext>
            </a:extLst>
          </p:cNvPr>
          <p:cNvSpPr/>
          <p:nvPr/>
        </p:nvSpPr>
        <p:spPr>
          <a:xfrm>
            <a:off x="5155971" y="962109"/>
            <a:ext cx="977261" cy="977386"/>
          </a:xfrm>
          <a:custGeom>
            <a:avLst/>
            <a:gdLst>
              <a:gd name="connsiteX0" fmla="*/ 2236202 w 2491377"/>
              <a:gd name="connsiteY0" fmla="*/ 2491695 h 2491694"/>
              <a:gd name="connsiteX1" fmla="*/ 1245689 w 2491377"/>
              <a:gd name="connsiteY1" fmla="*/ 2491695 h 2491694"/>
              <a:gd name="connsiteX2" fmla="*/ 1225351 w 2491377"/>
              <a:gd name="connsiteY2" fmla="*/ 2471357 h 2491694"/>
              <a:gd name="connsiteX3" fmla="*/ 1245689 w 2491377"/>
              <a:gd name="connsiteY3" fmla="*/ 2451020 h 2491694"/>
              <a:gd name="connsiteX4" fmla="*/ 2236520 w 2491377"/>
              <a:gd name="connsiteY4" fmla="*/ 2451020 h 2491694"/>
              <a:gd name="connsiteX5" fmla="*/ 2450702 w 2491377"/>
              <a:gd name="connsiteY5" fmla="*/ 2236837 h 2491694"/>
              <a:gd name="connsiteX6" fmla="*/ 2450702 w 2491377"/>
              <a:gd name="connsiteY6" fmla="*/ 255176 h 2491694"/>
              <a:gd name="connsiteX7" fmla="*/ 2236520 w 2491377"/>
              <a:gd name="connsiteY7" fmla="*/ 40993 h 2491694"/>
              <a:gd name="connsiteX8" fmla="*/ 254858 w 2491377"/>
              <a:gd name="connsiteY8" fmla="*/ 40993 h 2491694"/>
              <a:gd name="connsiteX9" fmla="*/ 40676 w 2491377"/>
              <a:gd name="connsiteY9" fmla="*/ 255176 h 2491694"/>
              <a:gd name="connsiteX10" fmla="*/ 40676 w 2491377"/>
              <a:gd name="connsiteY10" fmla="*/ 1246006 h 2491694"/>
              <a:gd name="connsiteX11" fmla="*/ 20338 w 2491377"/>
              <a:gd name="connsiteY11" fmla="*/ 1266344 h 2491694"/>
              <a:gd name="connsiteX12" fmla="*/ 0 w 2491377"/>
              <a:gd name="connsiteY12" fmla="*/ 1246006 h 2491694"/>
              <a:gd name="connsiteX13" fmla="*/ 0 w 2491377"/>
              <a:gd name="connsiteY13" fmla="*/ 255176 h 2491694"/>
              <a:gd name="connsiteX14" fmla="*/ 254858 w 2491377"/>
              <a:gd name="connsiteY14" fmla="*/ 0 h 2491694"/>
              <a:gd name="connsiteX15" fmla="*/ 2236202 w 2491377"/>
              <a:gd name="connsiteY15" fmla="*/ 0 h 2491694"/>
              <a:gd name="connsiteX16" fmla="*/ 2491378 w 2491377"/>
              <a:gd name="connsiteY16" fmla="*/ 255176 h 2491694"/>
              <a:gd name="connsiteX17" fmla="*/ 2491378 w 2491377"/>
              <a:gd name="connsiteY17" fmla="*/ 2236520 h 2491694"/>
              <a:gd name="connsiteX18" fmla="*/ 2236202 w 2491377"/>
              <a:gd name="connsiteY18" fmla="*/ 2491695 h 2491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491377" h="2491694">
                <a:moveTo>
                  <a:pt x="2236202" y="2491695"/>
                </a:moveTo>
                <a:lnTo>
                  <a:pt x="1245689" y="2491695"/>
                </a:lnTo>
                <a:cubicBezTo>
                  <a:pt x="1234567" y="2491695"/>
                  <a:pt x="1225351" y="2482480"/>
                  <a:pt x="1225351" y="2471357"/>
                </a:cubicBezTo>
                <a:cubicBezTo>
                  <a:pt x="1225351" y="2460235"/>
                  <a:pt x="1234567" y="2451020"/>
                  <a:pt x="1245689" y="2451020"/>
                </a:cubicBezTo>
                <a:lnTo>
                  <a:pt x="2236520" y="2451020"/>
                </a:lnTo>
                <a:cubicBezTo>
                  <a:pt x="2354733" y="2451020"/>
                  <a:pt x="2450702" y="2355051"/>
                  <a:pt x="2450702" y="2236837"/>
                </a:cubicBezTo>
                <a:lnTo>
                  <a:pt x="2450702" y="255176"/>
                </a:lnTo>
                <a:cubicBezTo>
                  <a:pt x="2450702" y="136962"/>
                  <a:pt x="2354733" y="40993"/>
                  <a:pt x="2236520" y="40993"/>
                </a:cubicBezTo>
                <a:lnTo>
                  <a:pt x="254858" y="40993"/>
                </a:lnTo>
                <a:cubicBezTo>
                  <a:pt x="136644" y="40993"/>
                  <a:pt x="40676" y="136962"/>
                  <a:pt x="40676" y="255176"/>
                </a:cubicBezTo>
                <a:lnTo>
                  <a:pt x="40676" y="1246006"/>
                </a:lnTo>
                <a:cubicBezTo>
                  <a:pt x="40676" y="1257129"/>
                  <a:pt x="31460" y="1266344"/>
                  <a:pt x="20338" y="1266344"/>
                </a:cubicBezTo>
                <a:cubicBezTo>
                  <a:pt x="9216" y="1266344"/>
                  <a:pt x="0" y="1257129"/>
                  <a:pt x="0" y="1246006"/>
                </a:cubicBezTo>
                <a:lnTo>
                  <a:pt x="0" y="255176"/>
                </a:lnTo>
                <a:cubicBezTo>
                  <a:pt x="0" y="114400"/>
                  <a:pt x="114400" y="0"/>
                  <a:pt x="254858" y="0"/>
                </a:cubicBezTo>
                <a:lnTo>
                  <a:pt x="2236202" y="0"/>
                </a:lnTo>
                <a:cubicBezTo>
                  <a:pt x="2376978" y="0"/>
                  <a:pt x="2491378" y="114400"/>
                  <a:pt x="2491378" y="255176"/>
                </a:cubicBezTo>
                <a:lnTo>
                  <a:pt x="2491378" y="2236520"/>
                </a:lnTo>
                <a:cubicBezTo>
                  <a:pt x="2491378" y="2377295"/>
                  <a:pt x="2376978" y="2491695"/>
                  <a:pt x="2236202" y="2491695"/>
                </a:cubicBezTo>
                <a:close/>
              </a:path>
            </a:pathLst>
          </a:custGeom>
          <a:solidFill>
            <a:srgbClr val="002060"/>
          </a:solidFill>
          <a:ln w="317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9C6A9F43-AEE2-533C-0A45-C5B4070D8AC2}"/>
              </a:ext>
            </a:extLst>
          </p:cNvPr>
          <p:cNvSpPr txBox="1"/>
          <p:nvPr/>
        </p:nvSpPr>
        <p:spPr>
          <a:xfrm>
            <a:off x="4672227" y="2092438"/>
            <a:ext cx="1944000" cy="32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David Poulsen</a:t>
            </a:r>
          </a:p>
        </p:txBody>
      </p:sp>
      <p:sp>
        <p:nvSpPr>
          <p:cNvPr id="208" name="Freeform: Shape 207">
            <a:extLst>
              <a:ext uri="{FF2B5EF4-FFF2-40B4-BE49-F238E27FC236}">
                <a16:creationId xmlns:a16="http://schemas.microsoft.com/office/drawing/2014/main" id="{203B1405-0EC2-2271-6D7A-BF5FA74E9ED3}"/>
              </a:ext>
            </a:extLst>
          </p:cNvPr>
          <p:cNvSpPr/>
          <p:nvPr/>
        </p:nvSpPr>
        <p:spPr>
          <a:xfrm>
            <a:off x="7436812" y="1040764"/>
            <a:ext cx="820077" cy="820077"/>
          </a:xfrm>
          <a:custGeom>
            <a:avLst/>
            <a:gdLst>
              <a:gd name="connsiteX0" fmla="*/ 1871076 w 2090660"/>
              <a:gd name="connsiteY0" fmla="*/ 2090660 h 2090659"/>
              <a:gd name="connsiteX1" fmla="*/ 219584 w 2090660"/>
              <a:gd name="connsiteY1" fmla="*/ 2090660 h 2090659"/>
              <a:gd name="connsiteX2" fmla="*/ 0 w 2090660"/>
              <a:gd name="connsiteY2" fmla="*/ 1871075 h 2090659"/>
              <a:gd name="connsiteX3" fmla="*/ 0 w 2090660"/>
              <a:gd name="connsiteY3" fmla="*/ 219584 h 2090659"/>
              <a:gd name="connsiteX4" fmla="*/ 219584 w 2090660"/>
              <a:gd name="connsiteY4" fmla="*/ 0 h 2090659"/>
              <a:gd name="connsiteX5" fmla="*/ 1871076 w 2090660"/>
              <a:gd name="connsiteY5" fmla="*/ 0 h 2090659"/>
              <a:gd name="connsiteX6" fmla="*/ 2090660 w 2090660"/>
              <a:gd name="connsiteY6" fmla="*/ 219584 h 2090659"/>
              <a:gd name="connsiteX7" fmla="*/ 2090660 w 2090660"/>
              <a:gd name="connsiteY7" fmla="*/ 1871075 h 2090659"/>
              <a:gd name="connsiteX8" fmla="*/ 1871076 w 2090660"/>
              <a:gd name="connsiteY8" fmla="*/ 2090660 h 2090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90660" h="2090659">
                <a:moveTo>
                  <a:pt x="1871076" y="2090660"/>
                </a:moveTo>
                <a:lnTo>
                  <a:pt x="219584" y="2090660"/>
                </a:lnTo>
                <a:cubicBezTo>
                  <a:pt x="98193" y="2090660"/>
                  <a:pt x="0" y="1992149"/>
                  <a:pt x="0" y="1871075"/>
                </a:cubicBezTo>
                <a:lnTo>
                  <a:pt x="0" y="219584"/>
                </a:lnTo>
                <a:cubicBezTo>
                  <a:pt x="0" y="98193"/>
                  <a:pt x="98511" y="0"/>
                  <a:pt x="219584" y="0"/>
                </a:cubicBezTo>
                <a:lnTo>
                  <a:pt x="1871076" y="0"/>
                </a:lnTo>
                <a:cubicBezTo>
                  <a:pt x="1992467" y="0"/>
                  <a:pt x="2090660" y="98511"/>
                  <a:pt x="2090660" y="219584"/>
                </a:cubicBezTo>
                <a:lnTo>
                  <a:pt x="2090660" y="1871075"/>
                </a:lnTo>
                <a:cubicBezTo>
                  <a:pt x="2090660" y="1992466"/>
                  <a:pt x="1992467" y="2090660"/>
                  <a:pt x="1871076" y="2090660"/>
                </a:cubicBezTo>
                <a:close/>
              </a:path>
            </a:pathLst>
          </a:custGeom>
          <a:solidFill>
            <a:schemeClr val="bg1"/>
          </a:solidFill>
          <a:ln w="3178" cap="flat">
            <a:noFill/>
            <a:prstDash val="solid"/>
            <a:miter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09" name="Freeform: Shape 208">
            <a:extLst>
              <a:ext uri="{FF2B5EF4-FFF2-40B4-BE49-F238E27FC236}">
                <a16:creationId xmlns:a16="http://schemas.microsoft.com/office/drawing/2014/main" id="{E7537FB4-F965-88BF-9FB6-9371F809B7B3}"/>
              </a:ext>
            </a:extLst>
          </p:cNvPr>
          <p:cNvSpPr/>
          <p:nvPr/>
        </p:nvSpPr>
        <p:spPr>
          <a:xfrm>
            <a:off x="7357534" y="1478787"/>
            <a:ext cx="497979" cy="461332"/>
          </a:xfrm>
          <a:custGeom>
            <a:avLst/>
            <a:gdLst>
              <a:gd name="connsiteX0" fmla="*/ 1247596 w 1269522"/>
              <a:gd name="connsiteY0" fmla="*/ 1176095 h 1176095"/>
              <a:gd name="connsiteX1" fmla="*/ 1230753 w 1269522"/>
              <a:gd name="connsiteY1" fmla="*/ 1176095 h 1176095"/>
              <a:gd name="connsiteX2" fmla="*/ 1208827 w 1269522"/>
              <a:gd name="connsiteY2" fmla="*/ 1154169 h 1176095"/>
              <a:gd name="connsiteX3" fmla="*/ 1230753 w 1269522"/>
              <a:gd name="connsiteY3" fmla="*/ 1132242 h 1176095"/>
              <a:gd name="connsiteX4" fmla="*/ 1247596 w 1269522"/>
              <a:gd name="connsiteY4" fmla="*/ 1132242 h 1176095"/>
              <a:gd name="connsiteX5" fmla="*/ 1269522 w 1269522"/>
              <a:gd name="connsiteY5" fmla="*/ 1154169 h 1176095"/>
              <a:gd name="connsiteX6" fmla="*/ 1247596 w 1269522"/>
              <a:gd name="connsiteY6" fmla="*/ 1176095 h 1176095"/>
              <a:gd name="connsiteX7" fmla="*/ 1060742 w 1269522"/>
              <a:gd name="connsiteY7" fmla="*/ 1176095 h 1176095"/>
              <a:gd name="connsiteX8" fmla="*/ 1043900 w 1269522"/>
              <a:gd name="connsiteY8" fmla="*/ 1176095 h 1176095"/>
              <a:gd name="connsiteX9" fmla="*/ 1021973 w 1269522"/>
              <a:gd name="connsiteY9" fmla="*/ 1154169 h 1176095"/>
              <a:gd name="connsiteX10" fmla="*/ 1043900 w 1269522"/>
              <a:gd name="connsiteY10" fmla="*/ 1132242 h 1176095"/>
              <a:gd name="connsiteX11" fmla="*/ 1060742 w 1269522"/>
              <a:gd name="connsiteY11" fmla="*/ 1132242 h 1176095"/>
              <a:gd name="connsiteX12" fmla="*/ 1082669 w 1269522"/>
              <a:gd name="connsiteY12" fmla="*/ 1154169 h 1176095"/>
              <a:gd name="connsiteX13" fmla="*/ 1060742 w 1269522"/>
              <a:gd name="connsiteY13" fmla="*/ 1176095 h 1176095"/>
              <a:gd name="connsiteX14" fmla="*/ 874207 w 1269522"/>
              <a:gd name="connsiteY14" fmla="*/ 1176095 h 1176095"/>
              <a:gd name="connsiteX15" fmla="*/ 857364 w 1269522"/>
              <a:gd name="connsiteY15" fmla="*/ 1176095 h 1176095"/>
              <a:gd name="connsiteX16" fmla="*/ 835438 w 1269522"/>
              <a:gd name="connsiteY16" fmla="*/ 1154169 h 1176095"/>
              <a:gd name="connsiteX17" fmla="*/ 857364 w 1269522"/>
              <a:gd name="connsiteY17" fmla="*/ 1132242 h 1176095"/>
              <a:gd name="connsiteX18" fmla="*/ 874207 w 1269522"/>
              <a:gd name="connsiteY18" fmla="*/ 1132242 h 1176095"/>
              <a:gd name="connsiteX19" fmla="*/ 896133 w 1269522"/>
              <a:gd name="connsiteY19" fmla="*/ 1154169 h 1176095"/>
              <a:gd name="connsiteX20" fmla="*/ 874207 w 1269522"/>
              <a:gd name="connsiteY20" fmla="*/ 1176095 h 1176095"/>
              <a:gd name="connsiteX21" fmla="*/ 687353 w 1269522"/>
              <a:gd name="connsiteY21" fmla="*/ 1176095 h 1176095"/>
              <a:gd name="connsiteX22" fmla="*/ 670511 w 1269522"/>
              <a:gd name="connsiteY22" fmla="*/ 1176095 h 1176095"/>
              <a:gd name="connsiteX23" fmla="*/ 648584 w 1269522"/>
              <a:gd name="connsiteY23" fmla="*/ 1154169 h 1176095"/>
              <a:gd name="connsiteX24" fmla="*/ 670511 w 1269522"/>
              <a:gd name="connsiteY24" fmla="*/ 1132242 h 1176095"/>
              <a:gd name="connsiteX25" fmla="*/ 687353 w 1269522"/>
              <a:gd name="connsiteY25" fmla="*/ 1132242 h 1176095"/>
              <a:gd name="connsiteX26" fmla="*/ 709280 w 1269522"/>
              <a:gd name="connsiteY26" fmla="*/ 1154169 h 1176095"/>
              <a:gd name="connsiteX27" fmla="*/ 687353 w 1269522"/>
              <a:gd name="connsiteY27" fmla="*/ 1176095 h 1176095"/>
              <a:gd name="connsiteX28" fmla="*/ 500818 w 1269522"/>
              <a:gd name="connsiteY28" fmla="*/ 1176095 h 1176095"/>
              <a:gd name="connsiteX29" fmla="*/ 483976 w 1269522"/>
              <a:gd name="connsiteY29" fmla="*/ 1176095 h 1176095"/>
              <a:gd name="connsiteX30" fmla="*/ 462049 w 1269522"/>
              <a:gd name="connsiteY30" fmla="*/ 1154169 h 1176095"/>
              <a:gd name="connsiteX31" fmla="*/ 483976 w 1269522"/>
              <a:gd name="connsiteY31" fmla="*/ 1132242 h 1176095"/>
              <a:gd name="connsiteX32" fmla="*/ 500818 w 1269522"/>
              <a:gd name="connsiteY32" fmla="*/ 1132242 h 1176095"/>
              <a:gd name="connsiteX33" fmla="*/ 522744 w 1269522"/>
              <a:gd name="connsiteY33" fmla="*/ 1154169 h 1176095"/>
              <a:gd name="connsiteX34" fmla="*/ 500818 w 1269522"/>
              <a:gd name="connsiteY34" fmla="*/ 1176095 h 1176095"/>
              <a:gd name="connsiteX35" fmla="*/ 313964 w 1269522"/>
              <a:gd name="connsiteY35" fmla="*/ 1176095 h 1176095"/>
              <a:gd name="connsiteX36" fmla="*/ 297122 w 1269522"/>
              <a:gd name="connsiteY36" fmla="*/ 1176095 h 1176095"/>
              <a:gd name="connsiteX37" fmla="*/ 275196 w 1269522"/>
              <a:gd name="connsiteY37" fmla="*/ 1154169 h 1176095"/>
              <a:gd name="connsiteX38" fmla="*/ 297122 w 1269522"/>
              <a:gd name="connsiteY38" fmla="*/ 1132242 h 1176095"/>
              <a:gd name="connsiteX39" fmla="*/ 313964 w 1269522"/>
              <a:gd name="connsiteY39" fmla="*/ 1132242 h 1176095"/>
              <a:gd name="connsiteX40" fmla="*/ 335891 w 1269522"/>
              <a:gd name="connsiteY40" fmla="*/ 1154169 h 1176095"/>
              <a:gd name="connsiteX41" fmla="*/ 313964 w 1269522"/>
              <a:gd name="connsiteY41" fmla="*/ 1176095 h 1176095"/>
              <a:gd name="connsiteX42" fmla="*/ 133784 w 1269522"/>
              <a:gd name="connsiteY42" fmla="*/ 1141458 h 1176095"/>
              <a:gd name="connsiteX43" fmla="*/ 122344 w 1269522"/>
              <a:gd name="connsiteY43" fmla="*/ 1138280 h 1176095"/>
              <a:gd name="connsiteX44" fmla="*/ 106773 w 1269522"/>
              <a:gd name="connsiteY44" fmla="*/ 1128111 h 1176095"/>
              <a:gd name="connsiteX45" fmla="*/ 101689 w 1269522"/>
              <a:gd name="connsiteY45" fmla="*/ 1097286 h 1176095"/>
              <a:gd name="connsiteX46" fmla="*/ 132513 w 1269522"/>
              <a:gd name="connsiteY46" fmla="*/ 1092202 h 1176095"/>
              <a:gd name="connsiteX47" fmla="*/ 145224 w 1269522"/>
              <a:gd name="connsiteY47" fmla="*/ 1100782 h 1176095"/>
              <a:gd name="connsiteX48" fmla="*/ 152533 w 1269522"/>
              <a:gd name="connsiteY48" fmla="*/ 1131289 h 1176095"/>
              <a:gd name="connsiteX49" fmla="*/ 133784 w 1269522"/>
              <a:gd name="connsiteY49" fmla="*/ 1141458 h 1176095"/>
              <a:gd name="connsiteX50" fmla="*/ 27964 w 1269522"/>
              <a:gd name="connsiteY50" fmla="*/ 993691 h 1176095"/>
              <a:gd name="connsiteX51" fmla="*/ 6356 w 1269522"/>
              <a:gd name="connsiteY51" fmla="*/ 976531 h 1176095"/>
              <a:gd name="connsiteX52" fmla="*/ 2860 w 1269522"/>
              <a:gd name="connsiteY52" fmla="*/ 958418 h 1176095"/>
              <a:gd name="connsiteX53" fmla="*/ 21291 w 1269522"/>
              <a:gd name="connsiteY53" fmla="*/ 933313 h 1176095"/>
              <a:gd name="connsiteX54" fmla="*/ 46396 w 1269522"/>
              <a:gd name="connsiteY54" fmla="*/ 951744 h 1176095"/>
              <a:gd name="connsiteX55" fmla="*/ 49256 w 1269522"/>
              <a:gd name="connsiteY55" fmla="*/ 966998 h 1176095"/>
              <a:gd name="connsiteX56" fmla="*/ 32731 w 1269522"/>
              <a:gd name="connsiteY56" fmla="*/ 993373 h 1176095"/>
              <a:gd name="connsiteX57" fmla="*/ 27964 w 1269522"/>
              <a:gd name="connsiteY57" fmla="*/ 993691 h 1176095"/>
              <a:gd name="connsiteX58" fmla="*/ 21927 w 1269522"/>
              <a:gd name="connsiteY58" fmla="*/ 807473 h 1176095"/>
              <a:gd name="connsiteX59" fmla="*/ 0 w 1269522"/>
              <a:gd name="connsiteY59" fmla="*/ 785547 h 1176095"/>
              <a:gd name="connsiteX60" fmla="*/ 0 w 1269522"/>
              <a:gd name="connsiteY60" fmla="*/ 768704 h 1176095"/>
              <a:gd name="connsiteX61" fmla="*/ 21927 w 1269522"/>
              <a:gd name="connsiteY61" fmla="*/ 746778 h 1176095"/>
              <a:gd name="connsiteX62" fmla="*/ 43853 w 1269522"/>
              <a:gd name="connsiteY62" fmla="*/ 768704 h 1176095"/>
              <a:gd name="connsiteX63" fmla="*/ 43853 w 1269522"/>
              <a:gd name="connsiteY63" fmla="*/ 785547 h 1176095"/>
              <a:gd name="connsiteX64" fmla="*/ 21927 w 1269522"/>
              <a:gd name="connsiteY64" fmla="*/ 807473 h 1176095"/>
              <a:gd name="connsiteX65" fmla="*/ 21927 w 1269522"/>
              <a:gd name="connsiteY65" fmla="*/ 620620 h 1176095"/>
              <a:gd name="connsiteX66" fmla="*/ 0 w 1269522"/>
              <a:gd name="connsiteY66" fmla="*/ 598693 h 1176095"/>
              <a:gd name="connsiteX67" fmla="*/ 0 w 1269522"/>
              <a:gd name="connsiteY67" fmla="*/ 581533 h 1176095"/>
              <a:gd name="connsiteX68" fmla="*/ 21927 w 1269522"/>
              <a:gd name="connsiteY68" fmla="*/ 559606 h 1176095"/>
              <a:gd name="connsiteX69" fmla="*/ 43853 w 1269522"/>
              <a:gd name="connsiteY69" fmla="*/ 581533 h 1176095"/>
              <a:gd name="connsiteX70" fmla="*/ 43853 w 1269522"/>
              <a:gd name="connsiteY70" fmla="*/ 598375 h 1176095"/>
              <a:gd name="connsiteX71" fmla="*/ 21927 w 1269522"/>
              <a:gd name="connsiteY71" fmla="*/ 620620 h 1176095"/>
              <a:gd name="connsiteX72" fmla="*/ 21927 w 1269522"/>
              <a:gd name="connsiteY72" fmla="*/ 434084 h 1176095"/>
              <a:gd name="connsiteX73" fmla="*/ 0 w 1269522"/>
              <a:gd name="connsiteY73" fmla="*/ 412158 h 1176095"/>
              <a:gd name="connsiteX74" fmla="*/ 0 w 1269522"/>
              <a:gd name="connsiteY74" fmla="*/ 395316 h 1176095"/>
              <a:gd name="connsiteX75" fmla="*/ 21927 w 1269522"/>
              <a:gd name="connsiteY75" fmla="*/ 373389 h 1176095"/>
              <a:gd name="connsiteX76" fmla="*/ 43853 w 1269522"/>
              <a:gd name="connsiteY76" fmla="*/ 395316 h 1176095"/>
              <a:gd name="connsiteX77" fmla="*/ 43853 w 1269522"/>
              <a:gd name="connsiteY77" fmla="*/ 412158 h 1176095"/>
              <a:gd name="connsiteX78" fmla="*/ 21927 w 1269522"/>
              <a:gd name="connsiteY78" fmla="*/ 434084 h 1176095"/>
              <a:gd name="connsiteX79" fmla="*/ 21927 w 1269522"/>
              <a:gd name="connsiteY79" fmla="*/ 247231 h 1176095"/>
              <a:gd name="connsiteX80" fmla="*/ 0 w 1269522"/>
              <a:gd name="connsiteY80" fmla="*/ 225304 h 1176095"/>
              <a:gd name="connsiteX81" fmla="*/ 0 w 1269522"/>
              <a:gd name="connsiteY81" fmla="*/ 208462 h 1176095"/>
              <a:gd name="connsiteX82" fmla="*/ 21927 w 1269522"/>
              <a:gd name="connsiteY82" fmla="*/ 186536 h 1176095"/>
              <a:gd name="connsiteX83" fmla="*/ 43853 w 1269522"/>
              <a:gd name="connsiteY83" fmla="*/ 208462 h 1176095"/>
              <a:gd name="connsiteX84" fmla="*/ 43853 w 1269522"/>
              <a:gd name="connsiteY84" fmla="*/ 225304 h 1176095"/>
              <a:gd name="connsiteX85" fmla="*/ 21927 w 1269522"/>
              <a:gd name="connsiteY85" fmla="*/ 247231 h 1176095"/>
              <a:gd name="connsiteX86" fmla="*/ 21927 w 1269522"/>
              <a:gd name="connsiteY86" fmla="*/ 60696 h 1176095"/>
              <a:gd name="connsiteX87" fmla="*/ 0 w 1269522"/>
              <a:gd name="connsiteY87" fmla="*/ 38769 h 1176095"/>
              <a:gd name="connsiteX88" fmla="*/ 0 w 1269522"/>
              <a:gd name="connsiteY88" fmla="*/ 21927 h 1176095"/>
              <a:gd name="connsiteX89" fmla="*/ 21927 w 1269522"/>
              <a:gd name="connsiteY89" fmla="*/ 0 h 1176095"/>
              <a:gd name="connsiteX90" fmla="*/ 43853 w 1269522"/>
              <a:gd name="connsiteY90" fmla="*/ 21927 h 1176095"/>
              <a:gd name="connsiteX91" fmla="*/ 43853 w 1269522"/>
              <a:gd name="connsiteY91" fmla="*/ 38769 h 1176095"/>
              <a:gd name="connsiteX92" fmla="*/ 21927 w 1269522"/>
              <a:gd name="connsiteY92" fmla="*/ 60696 h 1176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</a:cxnLst>
            <a:rect l="l" t="t" r="r" b="b"/>
            <a:pathLst>
              <a:path w="1269522" h="1176095">
                <a:moveTo>
                  <a:pt x="1247596" y="1176095"/>
                </a:moveTo>
                <a:lnTo>
                  <a:pt x="1230753" y="1176095"/>
                </a:lnTo>
                <a:cubicBezTo>
                  <a:pt x="1218678" y="1176095"/>
                  <a:pt x="1208827" y="1166244"/>
                  <a:pt x="1208827" y="1154169"/>
                </a:cubicBezTo>
                <a:cubicBezTo>
                  <a:pt x="1208827" y="1142093"/>
                  <a:pt x="1218678" y="1132242"/>
                  <a:pt x="1230753" y="1132242"/>
                </a:cubicBezTo>
                <a:lnTo>
                  <a:pt x="1247596" y="1132242"/>
                </a:lnTo>
                <a:cubicBezTo>
                  <a:pt x="1259671" y="1132242"/>
                  <a:pt x="1269522" y="1142093"/>
                  <a:pt x="1269522" y="1154169"/>
                </a:cubicBezTo>
                <a:cubicBezTo>
                  <a:pt x="1269522" y="1166244"/>
                  <a:pt x="1259671" y="1176095"/>
                  <a:pt x="1247596" y="1176095"/>
                </a:cubicBezTo>
                <a:close/>
                <a:moveTo>
                  <a:pt x="1060742" y="1176095"/>
                </a:moveTo>
                <a:lnTo>
                  <a:pt x="1043900" y="1176095"/>
                </a:lnTo>
                <a:cubicBezTo>
                  <a:pt x="1031825" y="1176095"/>
                  <a:pt x="1021973" y="1166244"/>
                  <a:pt x="1021973" y="1154169"/>
                </a:cubicBezTo>
                <a:cubicBezTo>
                  <a:pt x="1021973" y="1142093"/>
                  <a:pt x="1031825" y="1132242"/>
                  <a:pt x="1043900" y="1132242"/>
                </a:cubicBezTo>
                <a:lnTo>
                  <a:pt x="1060742" y="1132242"/>
                </a:lnTo>
                <a:cubicBezTo>
                  <a:pt x="1072818" y="1132242"/>
                  <a:pt x="1082669" y="1142093"/>
                  <a:pt x="1082669" y="1154169"/>
                </a:cubicBezTo>
                <a:cubicBezTo>
                  <a:pt x="1082669" y="1166244"/>
                  <a:pt x="1072818" y="1176095"/>
                  <a:pt x="1060742" y="1176095"/>
                </a:cubicBezTo>
                <a:close/>
                <a:moveTo>
                  <a:pt x="874207" y="1176095"/>
                </a:moveTo>
                <a:lnTo>
                  <a:pt x="857364" y="1176095"/>
                </a:lnTo>
                <a:cubicBezTo>
                  <a:pt x="845289" y="1176095"/>
                  <a:pt x="835438" y="1166244"/>
                  <a:pt x="835438" y="1154169"/>
                </a:cubicBezTo>
                <a:cubicBezTo>
                  <a:pt x="835438" y="1142093"/>
                  <a:pt x="845289" y="1132242"/>
                  <a:pt x="857364" y="1132242"/>
                </a:cubicBezTo>
                <a:lnTo>
                  <a:pt x="874207" y="1132242"/>
                </a:lnTo>
                <a:cubicBezTo>
                  <a:pt x="886282" y="1132242"/>
                  <a:pt x="896133" y="1142093"/>
                  <a:pt x="896133" y="1154169"/>
                </a:cubicBezTo>
                <a:cubicBezTo>
                  <a:pt x="896133" y="1166244"/>
                  <a:pt x="886282" y="1176095"/>
                  <a:pt x="874207" y="1176095"/>
                </a:cubicBezTo>
                <a:close/>
                <a:moveTo>
                  <a:pt x="687353" y="1176095"/>
                </a:moveTo>
                <a:lnTo>
                  <a:pt x="670511" y="1176095"/>
                </a:lnTo>
                <a:cubicBezTo>
                  <a:pt x="658436" y="1176095"/>
                  <a:pt x="648584" y="1166244"/>
                  <a:pt x="648584" y="1154169"/>
                </a:cubicBezTo>
                <a:cubicBezTo>
                  <a:pt x="648584" y="1142093"/>
                  <a:pt x="658436" y="1132242"/>
                  <a:pt x="670511" y="1132242"/>
                </a:cubicBezTo>
                <a:lnTo>
                  <a:pt x="687353" y="1132242"/>
                </a:lnTo>
                <a:cubicBezTo>
                  <a:pt x="699429" y="1132242"/>
                  <a:pt x="709280" y="1142093"/>
                  <a:pt x="709280" y="1154169"/>
                </a:cubicBezTo>
                <a:cubicBezTo>
                  <a:pt x="709280" y="1166244"/>
                  <a:pt x="699429" y="1176095"/>
                  <a:pt x="687353" y="1176095"/>
                </a:cubicBezTo>
                <a:close/>
                <a:moveTo>
                  <a:pt x="500818" y="1176095"/>
                </a:moveTo>
                <a:lnTo>
                  <a:pt x="483976" y="1176095"/>
                </a:lnTo>
                <a:cubicBezTo>
                  <a:pt x="471900" y="1176095"/>
                  <a:pt x="462049" y="1166244"/>
                  <a:pt x="462049" y="1154169"/>
                </a:cubicBezTo>
                <a:cubicBezTo>
                  <a:pt x="462049" y="1142093"/>
                  <a:pt x="471900" y="1132242"/>
                  <a:pt x="483976" y="1132242"/>
                </a:cubicBezTo>
                <a:lnTo>
                  <a:pt x="500818" y="1132242"/>
                </a:lnTo>
                <a:cubicBezTo>
                  <a:pt x="512893" y="1132242"/>
                  <a:pt x="522744" y="1142093"/>
                  <a:pt x="522744" y="1154169"/>
                </a:cubicBezTo>
                <a:cubicBezTo>
                  <a:pt x="522744" y="1166244"/>
                  <a:pt x="512893" y="1176095"/>
                  <a:pt x="500818" y="1176095"/>
                </a:cubicBezTo>
                <a:close/>
                <a:moveTo>
                  <a:pt x="313964" y="1176095"/>
                </a:moveTo>
                <a:lnTo>
                  <a:pt x="297122" y="1176095"/>
                </a:lnTo>
                <a:cubicBezTo>
                  <a:pt x="285047" y="1176095"/>
                  <a:pt x="275196" y="1166244"/>
                  <a:pt x="275196" y="1154169"/>
                </a:cubicBezTo>
                <a:cubicBezTo>
                  <a:pt x="275196" y="1142093"/>
                  <a:pt x="285047" y="1132242"/>
                  <a:pt x="297122" y="1132242"/>
                </a:cubicBezTo>
                <a:lnTo>
                  <a:pt x="313964" y="1132242"/>
                </a:lnTo>
                <a:cubicBezTo>
                  <a:pt x="326040" y="1132242"/>
                  <a:pt x="335891" y="1142093"/>
                  <a:pt x="335891" y="1154169"/>
                </a:cubicBezTo>
                <a:cubicBezTo>
                  <a:pt x="335891" y="1166244"/>
                  <a:pt x="326040" y="1176095"/>
                  <a:pt x="313964" y="1176095"/>
                </a:cubicBezTo>
                <a:close/>
                <a:moveTo>
                  <a:pt x="133784" y="1141458"/>
                </a:moveTo>
                <a:cubicBezTo>
                  <a:pt x="129971" y="1141458"/>
                  <a:pt x="125840" y="1140504"/>
                  <a:pt x="122344" y="1138280"/>
                </a:cubicBezTo>
                <a:cubicBezTo>
                  <a:pt x="116942" y="1135102"/>
                  <a:pt x="111858" y="1131606"/>
                  <a:pt x="106773" y="1128111"/>
                </a:cubicBezTo>
                <a:cubicBezTo>
                  <a:pt x="96922" y="1121120"/>
                  <a:pt x="94698" y="1107138"/>
                  <a:pt x="101689" y="1097286"/>
                </a:cubicBezTo>
                <a:cubicBezTo>
                  <a:pt x="108680" y="1087435"/>
                  <a:pt x="122662" y="1085211"/>
                  <a:pt x="132513" y="1092202"/>
                </a:cubicBezTo>
                <a:cubicBezTo>
                  <a:pt x="136644" y="1095062"/>
                  <a:pt x="141093" y="1097922"/>
                  <a:pt x="145224" y="1100782"/>
                </a:cubicBezTo>
                <a:cubicBezTo>
                  <a:pt x="155711" y="1107138"/>
                  <a:pt x="158889" y="1120802"/>
                  <a:pt x="152533" y="1131289"/>
                </a:cubicBezTo>
                <a:cubicBezTo>
                  <a:pt x="148402" y="1137644"/>
                  <a:pt x="141093" y="1141458"/>
                  <a:pt x="133784" y="1141458"/>
                </a:cubicBezTo>
                <a:close/>
                <a:moveTo>
                  <a:pt x="27964" y="993691"/>
                </a:moveTo>
                <a:cubicBezTo>
                  <a:pt x="17796" y="993691"/>
                  <a:pt x="8898" y="986700"/>
                  <a:pt x="6356" y="976531"/>
                </a:cubicBezTo>
                <a:cubicBezTo>
                  <a:pt x="5084" y="970493"/>
                  <a:pt x="3813" y="964455"/>
                  <a:pt x="2860" y="958418"/>
                </a:cubicBezTo>
                <a:cubicBezTo>
                  <a:pt x="953" y="946342"/>
                  <a:pt x="9216" y="935220"/>
                  <a:pt x="21291" y="933313"/>
                </a:cubicBezTo>
                <a:cubicBezTo>
                  <a:pt x="33367" y="931406"/>
                  <a:pt x="44489" y="939669"/>
                  <a:pt x="46396" y="951744"/>
                </a:cubicBezTo>
                <a:cubicBezTo>
                  <a:pt x="47031" y="956829"/>
                  <a:pt x="47984" y="961913"/>
                  <a:pt x="49256" y="966998"/>
                </a:cubicBezTo>
                <a:cubicBezTo>
                  <a:pt x="51798" y="978755"/>
                  <a:pt x="44489" y="990831"/>
                  <a:pt x="32731" y="993373"/>
                </a:cubicBezTo>
                <a:cubicBezTo>
                  <a:pt x="31142" y="993373"/>
                  <a:pt x="29553" y="993691"/>
                  <a:pt x="27964" y="993691"/>
                </a:cubicBezTo>
                <a:close/>
                <a:moveTo>
                  <a:pt x="21927" y="807473"/>
                </a:moveTo>
                <a:cubicBezTo>
                  <a:pt x="9851" y="807473"/>
                  <a:pt x="0" y="797622"/>
                  <a:pt x="0" y="785547"/>
                </a:cubicBezTo>
                <a:lnTo>
                  <a:pt x="0" y="768704"/>
                </a:lnTo>
                <a:cubicBezTo>
                  <a:pt x="0" y="756629"/>
                  <a:pt x="9851" y="746778"/>
                  <a:pt x="21927" y="746778"/>
                </a:cubicBezTo>
                <a:cubicBezTo>
                  <a:pt x="34002" y="746778"/>
                  <a:pt x="43853" y="756629"/>
                  <a:pt x="43853" y="768704"/>
                </a:cubicBezTo>
                <a:lnTo>
                  <a:pt x="43853" y="785547"/>
                </a:lnTo>
                <a:cubicBezTo>
                  <a:pt x="44171" y="797622"/>
                  <a:pt x="34320" y="807473"/>
                  <a:pt x="21927" y="807473"/>
                </a:cubicBezTo>
                <a:close/>
                <a:moveTo>
                  <a:pt x="21927" y="620620"/>
                </a:moveTo>
                <a:cubicBezTo>
                  <a:pt x="9851" y="620620"/>
                  <a:pt x="0" y="610769"/>
                  <a:pt x="0" y="598693"/>
                </a:cubicBezTo>
                <a:lnTo>
                  <a:pt x="0" y="581533"/>
                </a:lnTo>
                <a:cubicBezTo>
                  <a:pt x="0" y="569458"/>
                  <a:pt x="9851" y="559606"/>
                  <a:pt x="21927" y="559606"/>
                </a:cubicBezTo>
                <a:cubicBezTo>
                  <a:pt x="34002" y="559606"/>
                  <a:pt x="43853" y="569458"/>
                  <a:pt x="43853" y="581533"/>
                </a:cubicBezTo>
                <a:lnTo>
                  <a:pt x="43853" y="598375"/>
                </a:lnTo>
                <a:cubicBezTo>
                  <a:pt x="44171" y="610769"/>
                  <a:pt x="34320" y="620620"/>
                  <a:pt x="21927" y="620620"/>
                </a:cubicBezTo>
                <a:close/>
                <a:moveTo>
                  <a:pt x="21927" y="434084"/>
                </a:moveTo>
                <a:cubicBezTo>
                  <a:pt x="9851" y="434084"/>
                  <a:pt x="0" y="424233"/>
                  <a:pt x="0" y="412158"/>
                </a:cubicBezTo>
                <a:lnTo>
                  <a:pt x="0" y="395316"/>
                </a:lnTo>
                <a:cubicBezTo>
                  <a:pt x="0" y="383240"/>
                  <a:pt x="9851" y="373389"/>
                  <a:pt x="21927" y="373389"/>
                </a:cubicBezTo>
                <a:cubicBezTo>
                  <a:pt x="34002" y="373389"/>
                  <a:pt x="43853" y="383240"/>
                  <a:pt x="43853" y="395316"/>
                </a:cubicBezTo>
                <a:lnTo>
                  <a:pt x="43853" y="412158"/>
                </a:lnTo>
                <a:cubicBezTo>
                  <a:pt x="44171" y="424233"/>
                  <a:pt x="34320" y="434084"/>
                  <a:pt x="21927" y="434084"/>
                </a:cubicBezTo>
                <a:close/>
                <a:moveTo>
                  <a:pt x="21927" y="247231"/>
                </a:moveTo>
                <a:cubicBezTo>
                  <a:pt x="9851" y="247231"/>
                  <a:pt x="0" y="237380"/>
                  <a:pt x="0" y="225304"/>
                </a:cubicBezTo>
                <a:lnTo>
                  <a:pt x="0" y="208462"/>
                </a:lnTo>
                <a:cubicBezTo>
                  <a:pt x="0" y="196387"/>
                  <a:pt x="9851" y="186536"/>
                  <a:pt x="21927" y="186536"/>
                </a:cubicBezTo>
                <a:cubicBezTo>
                  <a:pt x="34002" y="186536"/>
                  <a:pt x="43853" y="196387"/>
                  <a:pt x="43853" y="208462"/>
                </a:cubicBezTo>
                <a:lnTo>
                  <a:pt x="43853" y="225304"/>
                </a:lnTo>
                <a:cubicBezTo>
                  <a:pt x="44171" y="237380"/>
                  <a:pt x="34320" y="247231"/>
                  <a:pt x="21927" y="247231"/>
                </a:cubicBezTo>
                <a:close/>
                <a:moveTo>
                  <a:pt x="21927" y="60696"/>
                </a:moveTo>
                <a:cubicBezTo>
                  <a:pt x="9851" y="60696"/>
                  <a:pt x="0" y="50844"/>
                  <a:pt x="0" y="38769"/>
                </a:cubicBezTo>
                <a:lnTo>
                  <a:pt x="0" y="21927"/>
                </a:lnTo>
                <a:cubicBezTo>
                  <a:pt x="0" y="9851"/>
                  <a:pt x="9851" y="0"/>
                  <a:pt x="21927" y="0"/>
                </a:cubicBezTo>
                <a:cubicBezTo>
                  <a:pt x="34002" y="0"/>
                  <a:pt x="43853" y="9851"/>
                  <a:pt x="43853" y="21927"/>
                </a:cubicBezTo>
                <a:lnTo>
                  <a:pt x="43853" y="38769"/>
                </a:lnTo>
                <a:cubicBezTo>
                  <a:pt x="44171" y="50844"/>
                  <a:pt x="34320" y="60696"/>
                  <a:pt x="21927" y="60696"/>
                </a:cubicBezTo>
                <a:close/>
              </a:path>
            </a:pathLst>
          </a:custGeom>
          <a:solidFill>
            <a:srgbClr val="002060"/>
          </a:solidFill>
          <a:ln w="317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10" name="Freeform: Shape 209">
            <a:extLst>
              <a:ext uri="{FF2B5EF4-FFF2-40B4-BE49-F238E27FC236}">
                <a16:creationId xmlns:a16="http://schemas.microsoft.com/office/drawing/2014/main" id="{A05A24A6-DB38-28C0-6A52-74485E61BBC8}"/>
              </a:ext>
            </a:extLst>
          </p:cNvPr>
          <p:cNvSpPr/>
          <p:nvPr/>
        </p:nvSpPr>
        <p:spPr>
          <a:xfrm>
            <a:off x="7358282" y="962109"/>
            <a:ext cx="977261" cy="977386"/>
          </a:xfrm>
          <a:custGeom>
            <a:avLst/>
            <a:gdLst>
              <a:gd name="connsiteX0" fmla="*/ 2236202 w 2491377"/>
              <a:gd name="connsiteY0" fmla="*/ 2491695 h 2491694"/>
              <a:gd name="connsiteX1" fmla="*/ 1245689 w 2491377"/>
              <a:gd name="connsiteY1" fmla="*/ 2491695 h 2491694"/>
              <a:gd name="connsiteX2" fmla="*/ 1225351 w 2491377"/>
              <a:gd name="connsiteY2" fmla="*/ 2471357 h 2491694"/>
              <a:gd name="connsiteX3" fmla="*/ 1245689 w 2491377"/>
              <a:gd name="connsiteY3" fmla="*/ 2451020 h 2491694"/>
              <a:gd name="connsiteX4" fmla="*/ 2236520 w 2491377"/>
              <a:gd name="connsiteY4" fmla="*/ 2451020 h 2491694"/>
              <a:gd name="connsiteX5" fmla="*/ 2450702 w 2491377"/>
              <a:gd name="connsiteY5" fmla="*/ 2236837 h 2491694"/>
              <a:gd name="connsiteX6" fmla="*/ 2450702 w 2491377"/>
              <a:gd name="connsiteY6" fmla="*/ 255176 h 2491694"/>
              <a:gd name="connsiteX7" fmla="*/ 2236520 w 2491377"/>
              <a:gd name="connsiteY7" fmla="*/ 40993 h 2491694"/>
              <a:gd name="connsiteX8" fmla="*/ 254858 w 2491377"/>
              <a:gd name="connsiteY8" fmla="*/ 40993 h 2491694"/>
              <a:gd name="connsiteX9" fmla="*/ 40676 w 2491377"/>
              <a:gd name="connsiteY9" fmla="*/ 255176 h 2491694"/>
              <a:gd name="connsiteX10" fmla="*/ 40676 w 2491377"/>
              <a:gd name="connsiteY10" fmla="*/ 1246006 h 2491694"/>
              <a:gd name="connsiteX11" fmla="*/ 20338 w 2491377"/>
              <a:gd name="connsiteY11" fmla="*/ 1266344 h 2491694"/>
              <a:gd name="connsiteX12" fmla="*/ 0 w 2491377"/>
              <a:gd name="connsiteY12" fmla="*/ 1246006 h 2491694"/>
              <a:gd name="connsiteX13" fmla="*/ 0 w 2491377"/>
              <a:gd name="connsiteY13" fmla="*/ 255176 h 2491694"/>
              <a:gd name="connsiteX14" fmla="*/ 254858 w 2491377"/>
              <a:gd name="connsiteY14" fmla="*/ 0 h 2491694"/>
              <a:gd name="connsiteX15" fmla="*/ 2236202 w 2491377"/>
              <a:gd name="connsiteY15" fmla="*/ 0 h 2491694"/>
              <a:gd name="connsiteX16" fmla="*/ 2491378 w 2491377"/>
              <a:gd name="connsiteY16" fmla="*/ 255176 h 2491694"/>
              <a:gd name="connsiteX17" fmla="*/ 2491378 w 2491377"/>
              <a:gd name="connsiteY17" fmla="*/ 2236520 h 2491694"/>
              <a:gd name="connsiteX18" fmla="*/ 2236202 w 2491377"/>
              <a:gd name="connsiteY18" fmla="*/ 2491695 h 2491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491377" h="2491694">
                <a:moveTo>
                  <a:pt x="2236202" y="2491695"/>
                </a:moveTo>
                <a:lnTo>
                  <a:pt x="1245689" y="2491695"/>
                </a:lnTo>
                <a:cubicBezTo>
                  <a:pt x="1234567" y="2491695"/>
                  <a:pt x="1225351" y="2482480"/>
                  <a:pt x="1225351" y="2471357"/>
                </a:cubicBezTo>
                <a:cubicBezTo>
                  <a:pt x="1225351" y="2460235"/>
                  <a:pt x="1234567" y="2451020"/>
                  <a:pt x="1245689" y="2451020"/>
                </a:cubicBezTo>
                <a:lnTo>
                  <a:pt x="2236520" y="2451020"/>
                </a:lnTo>
                <a:cubicBezTo>
                  <a:pt x="2354733" y="2451020"/>
                  <a:pt x="2450702" y="2355051"/>
                  <a:pt x="2450702" y="2236837"/>
                </a:cubicBezTo>
                <a:lnTo>
                  <a:pt x="2450702" y="255176"/>
                </a:lnTo>
                <a:cubicBezTo>
                  <a:pt x="2450702" y="136962"/>
                  <a:pt x="2354733" y="40993"/>
                  <a:pt x="2236520" y="40993"/>
                </a:cubicBezTo>
                <a:lnTo>
                  <a:pt x="254858" y="40993"/>
                </a:lnTo>
                <a:cubicBezTo>
                  <a:pt x="136644" y="40993"/>
                  <a:pt x="40676" y="136962"/>
                  <a:pt x="40676" y="255176"/>
                </a:cubicBezTo>
                <a:lnTo>
                  <a:pt x="40676" y="1246006"/>
                </a:lnTo>
                <a:cubicBezTo>
                  <a:pt x="40676" y="1257129"/>
                  <a:pt x="31460" y="1266344"/>
                  <a:pt x="20338" y="1266344"/>
                </a:cubicBezTo>
                <a:cubicBezTo>
                  <a:pt x="9216" y="1266344"/>
                  <a:pt x="0" y="1257129"/>
                  <a:pt x="0" y="1246006"/>
                </a:cubicBezTo>
                <a:lnTo>
                  <a:pt x="0" y="255176"/>
                </a:lnTo>
                <a:cubicBezTo>
                  <a:pt x="0" y="114400"/>
                  <a:pt x="114400" y="0"/>
                  <a:pt x="254858" y="0"/>
                </a:cubicBezTo>
                <a:lnTo>
                  <a:pt x="2236202" y="0"/>
                </a:lnTo>
                <a:cubicBezTo>
                  <a:pt x="2376978" y="0"/>
                  <a:pt x="2491378" y="114400"/>
                  <a:pt x="2491378" y="255176"/>
                </a:cubicBezTo>
                <a:lnTo>
                  <a:pt x="2491378" y="2236520"/>
                </a:lnTo>
                <a:cubicBezTo>
                  <a:pt x="2491378" y="2377295"/>
                  <a:pt x="2376978" y="2491695"/>
                  <a:pt x="2236202" y="2491695"/>
                </a:cubicBezTo>
                <a:close/>
              </a:path>
            </a:pathLst>
          </a:custGeom>
          <a:solidFill>
            <a:srgbClr val="002060"/>
          </a:solidFill>
          <a:ln w="317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DF847C2D-55B6-EF64-9A02-C4F97BEB22DA}"/>
              </a:ext>
            </a:extLst>
          </p:cNvPr>
          <p:cNvSpPr txBox="1"/>
          <p:nvPr/>
        </p:nvSpPr>
        <p:spPr>
          <a:xfrm>
            <a:off x="6874538" y="2092438"/>
            <a:ext cx="1944000" cy="32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Barclay Morrison</a:t>
            </a:r>
          </a:p>
        </p:txBody>
      </p:sp>
      <p:cxnSp>
        <p:nvCxnSpPr>
          <p:cNvPr id="230" name="Straight Connector 229">
            <a:extLst>
              <a:ext uri="{FF2B5EF4-FFF2-40B4-BE49-F238E27FC236}">
                <a16:creationId xmlns:a16="http://schemas.microsoft.com/office/drawing/2014/main" id="{A318AD29-C700-B0F6-4647-23910E8DA549}"/>
              </a:ext>
            </a:extLst>
          </p:cNvPr>
          <p:cNvCxnSpPr>
            <a:cxnSpLocks/>
          </p:cNvCxnSpPr>
          <p:nvPr/>
        </p:nvCxnSpPr>
        <p:spPr>
          <a:xfrm>
            <a:off x="2385762" y="962109"/>
            <a:ext cx="0" cy="3132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Straight Connector 230">
            <a:extLst>
              <a:ext uri="{FF2B5EF4-FFF2-40B4-BE49-F238E27FC236}">
                <a16:creationId xmlns:a16="http://schemas.microsoft.com/office/drawing/2014/main" id="{D4C4369F-13CD-3521-924C-A90CC21DC03B}"/>
              </a:ext>
            </a:extLst>
          </p:cNvPr>
          <p:cNvCxnSpPr>
            <a:cxnSpLocks/>
          </p:cNvCxnSpPr>
          <p:nvPr/>
        </p:nvCxnSpPr>
        <p:spPr>
          <a:xfrm>
            <a:off x="4570072" y="962109"/>
            <a:ext cx="0" cy="3132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Straight Connector 231">
            <a:extLst>
              <a:ext uri="{FF2B5EF4-FFF2-40B4-BE49-F238E27FC236}">
                <a16:creationId xmlns:a16="http://schemas.microsoft.com/office/drawing/2014/main" id="{8AE3847B-0E5E-4C09-6F0F-613CD76B4368}"/>
              </a:ext>
            </a:extLst>
          </p:cNvPr>
          <p:cNvCxnSpPr>
            <a:cxnSpLocks/>
          </p:cNvCxnSpPr>
          <p:nvPr/>
        </p:nvCxnSpPr>
        <p:spPr>
          <a:xfrm>
            <a:off x="6754383" y="962109"/>
            <a:ext cx="0" cy="3132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4" name="Graphic 233">
            <a:extLst>
              <a:ext uri="{FF2B5EF4-FFF2-40B4-BE49-F238E27FC236}">
                <a16:creationId xmlns:a16="http://schemas.microsoft.com/office/drawing/2014/main" id="{E58DE785-F0DB-6F95-DC1A-FDC4B1B0E94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60683" y="1216802"/>
            <a:ext cx="558472" cy="468000"/>
          </a:xfrm>
          <a:prstGeom prst="rect">
            <a:avLst/>
          </a:prstGeom>
        </p:spPr>
      </p:pic>
      <p:pic>
        <p:nvPicPr>
          <p:cNvPr id="235" name="Graphic 234">
            <a:extLst>
              <a:ext uri="{FF2B5EF4-FFF2-40B4-BE49-F238E27FC236}">
                <a16:creationId xmlns:a16="http://schemas.microsoft.com/office/drawing/2014/main" id="{2A0BC011-F965-C8AE-4CA4-810CA7A9390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71482" y="2807548"/>
            <a:ext cx="558472" cy="468000"/>
          </a:xfrm>
          <a:prstGeom prst="rect">
            <a:avLst/>
          </a:prstGeom>
        </p:spPr>
      </p:pic>
      <p:pic>
        <p:nvPicPr>
          <p:cNvPr id="236" name="Graphic 235">
            <a:extLst>
              <a:ext uri="{FF2B5EF4-FFF2-40B4-BE49-F238E27FC236}">
                <a16:creationId xmlns:a16="http://schemas.microsoft.com/office/drawing/2014/main" id="{C453F288-AE39-82A7-A8DC-C6D34422AC4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62993" y="1216802"/>
            <a:ext cx="558472" cy="468000"/>
          </a:xfrm>
          <a:prstGeom prst="rect">
            <a:avLst/>
          </a:prstGeom>
        </p:spPr>
      </p:pic>
      <p:pic>
        <p:nvPicPr>
          <p:cNvPr id="237" name="Graphic 236">
            <a:extLst>
              <a:ext uri="{FF2B5EF4-FFF2-40B4-BE49-F238E27FC236}">
                <a16:creationId xmlns:a16="http://schemas.microsoft.com/office/drawing/2014/main" id="{E1C3F140-B87E-2E9C-D173-200345E2091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62993" y="2807548"/>
            <a:ext cx="558472" cy="468000"/>
          </a:xfrm>
          <a:prstGeom prst="rect">
            <a:avLst/>
          </a:prstGeom>
        </p:spPr>
      </p:pic>
      <p:pic>
        <p:nvPicPr>
          <p:cNvPr id="238" name="Graphic 237">
            <a:extLst>
              <a:ext uri="{FF2B5EF4-FFF2-40B4-BE49-F238E27FC236}">
                <a16:creationId xmlns:a16="http://schemas.microsoft.com/office/drawing/2014/main" id="{52592F3F-2307-9940-369E-FAFF5121251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365303" y="1216802"/>
            <a:ext cx="558472" cy="468000"/>
          </a:xfrm>
          <a:prstGeom prst="rect">
            <a:avLst/>
          </a:prstGeom>
        </p:spPr>
      </p:pic>
      <p:pic>
        <p:nvPicPr>
          <p:cNvPr id="239" name="Graphic 238">
            <a:extLst>
              <a:ext uri="{FF2B5EF4-FFF2-40B4-BE49-F238E27FC236}">
                <a16:creationId xmlns:a16="http://schemas.microsoft.com/office/drawing/2014/main" id="{29F1E028-E8F6-1343-F257-D5BB432A05E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567614" y="1216802"/>
            <a:ext cx="558472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98897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8AB48F5-39BE-8DDA-BE2E-054BEC8D4F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8AB48F5-39BE-8DDA-BE2E-054BEC8D4F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AB64363-ACDE-38D3-9CB1-A4DDB6D08A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607" y="79523"/>
            <a:ext cx="8604931" cy="615553"/>
          </a:xfrm>
        </p:spPr>
        <p:txBody>
          <a:bodyPr vert="horz"/>
          <a:lstStyle/>
          <a:p>
            <a:r>
              <a:rPr lang="en-US" sz="2000" dirty="0"/>
              <a:t>Brain Injury (Stroke and TBI) Triggers Neuroinflammation and Systemic Dysfunction Throughout Acute and Chronic Recovery Phas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0EC180F-D64F-E31E-9A49-D8F5E8AD54A5}"/>
              </a:ext>
            </a:extLst>
          </p:cNvPr>
          <p:cNvSpPr/>
          <p:nvPr/>
        </p:nvSpPr>
        <p:spPr>
          <a:xfrm>
            <a:off x="267606" y="974362"/>
            <a:ext cx="6492957" cy="2592000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911AA4F-0F83-116A-8D6F-F4384B0B2400}"/>
              </a:ext>
            </a:extLst>
          </p:cNvPr>
          <p:cNvSpPr/>
          <p:nvPr/>
        </p:nvSpPr>
        <p:spPr>
          <a:xfrm>
            <a:off x="6828909" y="974362"/>
            <a:ext cx="2043629" cy="259200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AE75F52-3B56-C7ED-F9E1-46DF5E76B4F8}"/>
              </a:ext>
            </a:extLst>
          </p:cNvPr>
          <p:cNvSpPr/>
          <p:nvPr/>
        </p:nvSpPr>
        <p:spPr>
          <a:xfrm>
            <a:off x="1902489" y="1083591"/>
            <a:ext cx="3223191" cy="246221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ommon </a:t>
            </a:r>
            <a:r>
              <a:rPr kumimoji="1" lang="en-US" sz="1600" b="1" kern="1200" dirty="0">
                <a:solidFill>
                  <a:srgbClr val="002060"/>
                </a:solidFill>
                <a:latin typeface="Calibri" panose="020F0502020204030204"/>
                <a:ea typeface="+mn-ea"/>
                <a:cs typeface="+mn-cs"/>
              </a:rPr>
              <a:t>Brain </a:t>
            </a:r>
            <a:r>
              <a:rPr kumimoji="1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thological Sequelae</a:t>
            </a:r>
          </a:p>
        </p:txBody>
      </p:sp>
      <p:pic>
        <p:nvPicPr>
          <p:cNvPr id="14" name="Picture 69">
            <a:extLst>
              <a:ext uri="{FF2B5EF4-FFF2-40B4-BE49-F238E27FC236}">
                <a16:creationId xmlns:a16="http://schemas.microsoft.com/office/drawing/2014/main" id="{3C50902F-B8AC-24BA-74A2-58E7BFCBCDF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0" t="1087" r="1088" b="34070"/>
          <a:stretch/>
        </p:blipFill>
        <p:spPr bwMode="auto">
          <a:xfrm>
            <a:off x="385290" y="1487109"/>
            <a:ext cx="2455402" cy="133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Neuroinflammation as a Mechanism, Biomarker, and ...">
            <a:extLst>
              <a:ext uri="{FF2B5EF4-FFF2-40B4-BE49-F238E27FC236}">
                <a16:creationId xmlns:a16="http://schemas.microsoft.com/office/drawing/2014/main" id="{BA04590A-4418-445A-92CF-92A0AB675E3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123814" y="1487109"/>
            <a:ext cx="1861313" cy="133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6" descr="Different types of glia interact with neurons and the ...">
            <a:extLst>
              <a:ext uri="{FF2B5EF4-FFF2-40B4-BE49-F238E27FC236}">
                <a16:creationId xmlns:a16="http://schemas.microsoft.com/office/drawing/2014/main" id="{190EC65F-ADBD-6578-E54D-CDBC0974B7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68249" y="1487109"/>
            <a:ext cx="1262204" cy="133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8" descr="Diagram&#10;&#10;Description automatically generated">
            <a:extLst>
              <a:ext uri="{FF2B5EF4-FFF2-40B4-BE49-F238E27FC236}">
                <a16:creationId xmlns:a16="http://schemas.microsoft.com/office/drawing/2014/main" id="{A89F1F10-A280-4927-963D-EBB6D7AA105C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56172" y="1037582"/>
            <a:ext cx="1723125" cy="1594578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3BB2533A-3641-4D73-67AE-A6B7B2167CB0}"/>
              </a:ext>
            </a:extLst>
          </p:cNvPr>
          <p:cNvGrpSpPr/>
          <p:nvPr/>
        </p:nvGrpSpPr>
        <p:grpSpPr>
          <a:xfrm>
            <a:off x="6642940" y="2118567"/>
            <a:ext cx="303591" cy="303591"/>
            <a:chOff x="4416697" y="2045882"/>
            <a:chExt cx="303591" cy="303591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8EDFB7F9-EE3E-05E3-1C98-B9BDC6C47323}"/>
                </a:ext>
              </a:extLst>
            </p:cNvPr>
            <p:cNvSpPr/>
            <p:nvPr/>
          </p:nvSpPr>
          <p:spPr bwMode="auto">
            <a:xfrm>
              <a:off x="4416697" y="2045882"/>
              <a:ext cx="303591" cy="303591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rgbClr val="316399"/>
              </a:solidFill>
              <a:prstDash val="solid"/>
              <a:miter lim="400000"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825500" rtl="0" eaLnBrk="1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 panose="020B0603030502020204" pitchFamily="34" charset="0"/>
                <a:ea typeface="Helvetica" pitchFamily="2" charset="0"/>
                <a:cs typeface="Helvetica" pitchFamily="2" charset="0"/>
                <a:sym typeface="Speedee" panose="020B0603030502020204" pitchFamily="34" charset="0"/>
              </a:endParaRPr>
            </a:p>
          </p:txBody>
        </p:sp>
        <p:sp>
          <p:nvSpPr>
            <p:cNvPr id="23" name="Arrow: Chevron 22">
              <a:extLst>
                <a:ext uri="{FF2B5EF4-FFF2-40B4-BE49-F238E27FC236}">
                  <a16:creationId xmlns:a16="http://schemas.microsoft.com/office/drawing/2014/main" id="{31A317E3-C512-2580-7250-620A0C9D031C}"/>
                </a:ext>
              </a:extLst>
            </p:cNvPr>
            <p:cNvSpPr/>
            <p:nvPr/>
          </p:nvSpPr>
          <p:spPr>
            <a:xfrm>
              <a:off x="4485043" y="2119518"/>
              <a:ext cx="166899" cy="156319"/>
            </a:xfrm>
            <a:prstGeom prst="chevron">
              <a:avLst/>
            </a:prstGeom>
            <a:solidFill>
              <a:srgbClr val="3163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3B78AC27-8968-E3E5-FFD6-66C6B8E27D6E}"/>
              </a:ext>
            </a:extLst>
          </p:cNvPr>
          <p:cNvSpPr/>
          <p:nvPr/>
        </p:nvSpPr>
        <p:spPr>
          <a:xfrm>
            <a:off x="974611" y="2946771"/>
            <a:ext cx="1276760" cy="49244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urovascular/</a:t>
            </a:r>
            <a:br>
              <a:rPr kumimoji="1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1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BB Disruption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568DAD9-249F-D309-89CA-7E2D6DF247CB}"/>
              </a:ext>
            </a:extLst>
          </p:cNvPr>
          <p:cNvSpPr/>
          <p:nvPr/>
        </p:nvSpPr>
        <p:spPr>
          <a:xfrm>
            <a:off x="3236971" y="2946771"/>
            <a:ext cx="1634999" cy="246221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uroinflammation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FCE1135-C052-7165-C75D-039310B748DC}"/>
              </a:ext>
            </a:extLst>
          </p:cNvPr>
          <p:cNvSpPr/>
          <p:nvPr/>
        </p:nvSpPr>
        <p:spPr>
          <a:xfrm>
            <a:off x="5253693" y="2946771"/>
            <a:ext cx="1276760" cy="49244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l Death an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ysfunction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821F0C54-A695-C33C-28A4-E9CF7394A37F}"/>
              </a:ext>
            </a:extLst>
          </p:cNvPr>
          <p:cNvCxnSpPr>
            <a:cxnSpLocks/>
          </p:cNvCxnSpPr>
          <p:nvPr/>
        </p:nvCxnSpPr>
        <p:spPr>
          <a:xfrm>
            <a:off x="2982253" y="1487109"/>
            <a:ext cx="0" cy="1952105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9721CD0-E1F2-823E-E22F-FD8F71748976}"/>
              </a:ext>
            </a:extLst>
          </p:cNvPr>
          <p:cNvCxnSpPr>
            <a:cxnSpLocks/>
          </p:cNvCxnSpPr>
          <p:nvPr/>
        </p:nvCxnSpPr>
        <p:spPr>
          <a:xfrm>
            <a:off x="5126688" y="1487109"/>
            <a:ext cx="0" cy="1952105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E0312D22-0492-27D6-25DF-0569D5932D3D}"/>
              </a:ext>
            </a:extLst>
          </p:cNvPr>
          <p:cNvSpPr/>
          <p:nvPr/>
        </p:nvSpPr>
        <p:spPr>
          <a:xfrm>
            <a:off x="7305932" y="2738556"/>
            <a:ext cx="1223605" cy="738664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stemic and </a:t>
            </a:r>
            <a:br>
              <a:rPr kumimoji="1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1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iphera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gan Systems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E563A0A9-8284-83DB-32BF-8B7D370406C8}"/>
              </a:ext>
            </a:extLst>
          </p:cNvPr>
          <p:cNvCxnSpPr>
            <a:stCxn id="46" idx="0"/>
          </p:cNvCxnSpPr>
          <p:nvPr/>
        </p:nvCxnSpPr>
        <p:spPr bwMode="auto">
          <a:xfrm flipH="1" flipV="1">
            <a:off x="5206342" y="4059676"/>
            <a:ext cx="199206" cy="38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4" name="Google Shape;547;p3">
            <a:extLst>
              <a:ext uri="{FF2B5EF4-FFF2-40B4-BE49-F238E27FC236}">
                <a16:creationId xmlns:a16="http://schemas.microsoft.com/office/drawing/2014/main" id="{5B5F8998-8EE5-AA9F-B13D-59DFCBFC79B9}"/>
              </a:ext>
            </a:extLst>
          </p:cNvPr>
          <p:cNvSpPr/>
          <p:nvPr/>
        </p:nvSpPr>
        <p:spPr>
          <a:xfrm rot="10800000" flipH="1">
            <a:off x="4717741" y="3754139"/>
            <a:ext cx="308864" cy="611834"/>
          </a:xfrm>
          <a:custGeom>
            <a:avLst/>
            <a:gdLst/>
            <a:ahLst/>
            <a:cxnLst/>
            <a:rect l="l" t="t" r="r" b="b"/>
            <a:pathLst>
              <a:path w="548958" h="1087438" extrusionOk="0">
                <a:moveTo>
                  <a:pt x="543719" y="0"/>
                </a:moveTo>
                <a:lnTo>
                  <a:pt x="548958" y="528"/>
                </a:lnTo>
                <a:lnTo>
                  <a:pt x="548958" y="1086910"/>
                </a:lnTo>
                <a:lnTo>
                  <a:pt x="543719" y="1087438"/>
                </a:lnTo>
                <a:cubicBezTo>
                  <a:pt x="243431" y="1087438"/>
                  <a:pt x="0" y="844007"/>
                  <a:pt x="0" y="543719"/>
                </a:cubicBezTo>
                <a:cubicBezTo>
                  <a:pt x="0" y="243431"/>
                  <a:pt x="243431" y="0"/>
                  <a:pt x="543719" y="0"/>
                </a:cubicBezTo>
                <a:close/>
              </a:path>
            </a:pathLst>
          </a:custGeom>
          <a:solidFill>
            <a:srgbClr val="00206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378">
              <a:buSzPts val="1800"/>
              <a:defRPr/>
            </a:pPr>
            <a:endParaRPr sz="1300" b="1" dirty="0">
              <a:solidFill>
                <a:srgbClr val="FFFFFF"/>
              </a:solidFill>
              <a:latin typeface="+mn-lt"/>
              <a:ea typeface="Roboto Light" panose="02000000000000000000" pitchFamily="2" charset="0"/>
              <a:cs typeface="Roboto Light" panose="02000000000000000000" pitchFamily="2" charset="0"/>
              <a:sym typeface="Calibri"/>
            </a:endParaRPr>
          </a:p>
        </p:txBody>
      </p:sp>
      <p:sp>
        <p:nvSpPr>
          <p:cNvPr id="45" name="Google Shape;548;p3">
            <a:extLst>
              <a:ext uri="{FF2B5EF4-FFF2-40B4-BE49-F238E27FC236}">
                <a16:creationId xmlns:a16="http://schemas.microsoft.com/office/drawing/2014/main" id="{51A63FCB-DA7F-1646-3458-D228B3AD5A6F}"/>
              </a:ext>
            </a:extLst>
          </p:cNvPr>
          <p:cNvSpPr/>
          <p:nvPr/>
        </p:nvSpPr>
        <p:spPr>
          <a:xfrm rot="10800000" flipH="1">
            <a:off x="4787609" y="3823603"/>
            <a:ext cx="472758" cy="472905"/>
          </a:xfrm>
          <a:prstGeom prst="ellipse">
            <a:avLst/>
          </a:prstGeom>
          <a:solidFill>
            <a:srgbClr val="FFFFFF"/>
          </a:soli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 defTabSz="914378">
              <a:buSzPts val="3600"/>
              <a:defRPr/>
            </a:pPr>
            <a:endParaRPr sz="1300" b="1" dirty="0">
              <a:solidFill>
                <a:srgbClr val="DB0007"/>
              </a:solidFill>
              <a:latin typeface="+mn-lt"/>
              <a:ea typeface="Roboto Light" panose="02000000000000000000" pitchFamily="2" charset="0"/>
              <a:cs typeface="Roboto Light" panose="02000000000000000000" pitchFamily="2" charset="0"/>
              <a:sym typeface="Calibri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9BC6D947-031E-B94E-7385-34C147C9A1EE}"/>
              </a:ext>
            </a:extLst>
          </p:cNvPr>
          <p:cNvSpPr/>
          <p:nvPr/>
        </p:nvSpPr>
        <p:spPr bwMode="auto">
          <a:xfrm rot="16200000">
            <a:off x="5405549" y="4001152"/>
            <a:ext cx="117808" cy="117809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defTabSz="914378">
              <a:defRPr/>
            </a:pPr>
            <a:endParaRPr lang="en-US" dirty="0">
              <a:solidFill>
                <a:srgbClr val="FFFFFF"/>
              </a:solidFill>
              <a:latin typeface="+mn-lt"/>
              <a:ea typeface="ＭＳ Ｐゴシック" pitchFamily="-76" charset="-128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430828E0-F036-3390-AF43-B9743F339338}"/>
              </a:ext>
            </a:extLst>
          </p:cNvPr>
          <p:cNvSpPr/>
          <p:nvPr/>
        </p:nvSpPr>
        <p:spPr>
          <a:xfrm>
            <a:off x="5668538" y="3813835"/>
            <a:ext cx="3204000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BI</a:t>
            </a:r>
            <a:r>
              <a:rPr kumimoji="1" lang="en-US" sz="16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1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ternal injury damaging brain and vasculature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08F8191D-D135-8402-97E3-09BD87413F41}"/>
              </a:ext>
            </a:extLst>
          </p:cNvPr>
          <p:cNvSpPr txBox="1"/>
          <p:nvPr/>
        </p:nvSpPr>
        <p:spPr>
          <a:xfrm>
            <a:off x="267607" y="4644649"/>
            <a:ext cx="197844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7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te: Modified based on Maki et al., 2013</a:t>
            </a: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9DAAFE47-8AFF-8501-CBA2-2FD7948ADEFF}"/>
              </a:ext>
            </a:extLst>
          </p:cNvPr>
          <p:cNvGrpSpPr/>
          <p:nvPr/>
        </p:nvGrpSpPr>
        <p:grpSpPr>
          <a:xfrm>
            <a:off x="267606" y="3754139"/>
            <a:ext cx="4154797" cy="611834"/>
            <a:chOff x="267606" y="3754139"/>
            <a:chExt cx="4154797" cy="611834"/>
          </a:xfrm>
        </p:grpSpPr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A4B18B7E-0DB2-FF77-8A12-7362FE16D413}"/>
                </a:ext>
              </a:extLst>
            </p:cNvPr>
            <p:cNvCxnSpPr>
              <a:stCxn id="36" idx="0"/>
            </p:cNvCxnSpPr>
            <p:nvPr/>
          </p:nvCxnSpPr>
          <p:spPr bwMode="auto">
            <a:xfrm flipH="1" flipV="1">
              <a:off x="756207" y="4059676"/>
              <a:ext cx="199206" cy="38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34" name="Google Shape;547;p3">
              <a:extLst>
                <a:ext uri="{FF2B5EF4-FFF2-40B4-BE49-F238E27FC236}">
                  <a16:creationId xmlns:a16="http://schemas.microsoft.com/office/drawing/2014/main" id="{8B66EBA8-0BAA-1826-EE36-F47BF2F28DA0}"/>
                </a:ext>
              </a:extLst>
            </p:cNvPr>
            <p:cNvSpPr/>
            <p:nvPr/>
          </p:nvSpPr>
          <p:spPr>
            <a:xfrm rot="10800000" flipH="1">
              <a:off x="267606" y="3754139"/>
              <a:ext cx="308864" cy="611834"/>
            </a:xfrm>
            <a:custGeom>
              <a:avLst/>
              <a:gdLst/>
              <a:ahLst/>
              <a:cxnLst/>
              <a:rect l="l" t="t" r="r" b="b"/>
              <a:pathLst>
                <a:path w="548958" h="1087438" extrusionOk="0">
                  <a:moveTo>
                    <a:pt x="543719" y="0"/>
                  </a:moveTo>
                  <a:lnTo>
                    <a:pt x="548958" y="528"/>
                  </a:lnTo>
                  <a:lnTo>
                    <a:pt x="548958" y="1086910"/>
                  </a:lnTo>
                  <a:lnTo>
                    <a:pt x="543719" y="1087438"/>
                  </a:lnTo>
                  <a:cubicBezTo>
                    <a:pt x="243431" y="1087438"/>
                    <a:pt x="0" y="844007"/>
                    <a:pt x="0" y="543719"/>
                  </a:cubicBezTo>
                  <a:cubicBezTo>
                    <a:pt x="0" y="243431"/>
                    <a:pt x="243431" y="0"/>
                    <a:pt x="543719" y="0"/>
                  </a:cubicBez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 defTabSz="914378">
                <a:buSzPts val="1800"/>
                <a:defRPr/>
              </a:pPr>
              <a:endParaRPr sz="1300" b="1" dirty="0">
                <a:solidFill>
                  <a:srgbClr val="FFFFFF"/>
                </a:solidFill>
                <a:latin typeface="+mn-lt"/>
                <a:ea typeface="Roboto Light" panose="02000000000000000000" pitchFamily="2" charset="0"/>
                <a:cs typeface="Roboto Light" panose="02000000000000000000" pitchFamily="2" charset="0"/>
                <a:sym typeface="Calibri"/>
              </a:endParaRPr>
            </a:p>
          </p:txBody>
        </p:sp>
        <p:sp>
          <p:nvSpPr>
            <p:cNvPr id="35" name="Google Shape;548;p3">
              <a:extLst>
                <a:ext uri="{FF2B5EF4-FFF2-40B4-BE49-F238E27FC236}">
                  <a16:creationId xmlns:a16="http://schemas.microsoft.com/office/drawing/2014/main" id="{39DBFFE6-99B2-F1DD-17EA-96C1B8E8213D}"/>
                </a:ext>
              </a:extLst>
            </p:cNvPr>
            <p:cNvSpPr/>
            <p:nvPr/>
          </p:nvSpPr>
          <p:spPr>
            <a:xfrm rot="10800000" flipH="1">
              <a:off x="337474" y="3823603"/>
              <a:ext cx="472758" cy="47290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 defTabSz="914378">
                <a:buSzPts val="3600"/>
                <a:defRPr/>
              </a:pPr>
              <a:endParaRPr sz="1300" b="1" dirty="0">
                <a:solidFill>
                  <a:srgbClr val="DB0007"/>
                </a:solidFill>
                <a:latin typeface="+mn-lt"/>
                <a:ea typeface="Roboto Light" panose="02000000000000000000" pitchFamily="2" charset="0"/>
                <a:cs typeface="Roboto Light" panose="02000000000000000000" pitchFamily="2" charset="0"/>
                <a:sym typeface="Calibri"/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004DEBC7-8E85-8AC9-97A2-C0BB7C759DA8}"/>
                </a:ext>
              </a:extLst>
            </p:cNvPr>
            <p:cNvSpPr/>
            <p:nvPr/>
          </p:nvSpPr>
          <p:spPr bwMode="auto">
            <a:xfrm rot="16200000">
              <a:off x="955414" y="4001152"/>
              <a:ext cx="117808" cy="117809"/>
            </a:xfrm>
            <a:prstGeom prst="ellipse">
              <a:avLst/>
            </a:prstGeom>
            <a:solidFill>
              <a:schemeClr val="bg1"/>
            </a:solidFill>
            <a:ln w="2857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US" dirty="0">
                <a:solidFill>
                  <a:srgbClr val="FFFFFF"/>
                </a:solidFill>
                <a:latin typeface="+mn-lt"/>
                <a:ea typeface="ＭＳ Ｐゴシック" pitchFamily="-76" charset="-128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0E8B0E-C1DC-A7F3-9D06-81821E661137}"/>
                </a:ext>
              </a:extLst>
            </p:cNvPr>
            <p:cNvSpPr/>
            <p:nvPr/>
          </p:nvSpPr>
          <p:spPr>
            <a:xfrm>
              <a:off x="1218403" y="3813835"/>
              <a:ext cx="3204000" cy="49244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roke</a:t>
              </a:r>
              <a:r>
                <a:rPr kumimoji="1" lang="en-US" sz="160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: </a:t>
              </a:r>
              <a:r>
                <a:rPr kumimoji="1" lang="en-US" sz="1600" i="0" u="none" strike="noStrike" kern="1200" cap="none" spc="0" normalizeH="0" baseline="0" noProof="0" dirty="0">
                  <a:ln>
                    <a:noFill/>
                  </a:ln>
                  <a:solidFill>
                    <a:srgbClr val="04143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Vascular in origin, affects brain parenchyma and vasculature</a:t>
              </a:r>
            </a:p>
          </p:txBody>
        </p:sp>
        <p:pic>
          <p:nvPicPr>
            <p:cNvPr id="54" name="Graphic 53">
              <a:extLst>
                <a:ext uri="{FF2B5EF4-FFF2-40B4-BE49-F238E27FC236}">
                  <a16:creationId xmlns:a16="http://schemas.microsoft.com/office/drawing/2014/main" id="{423798F1-206A-FB60-F0BA-5405B22C001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30315" y="3915350"/>
              <a:ext cx="287074" cy="289411"/>
            </a:xfrm>
            <a:prstGeom prst="rect">
              <a:avLst/>
            </a:prstGeom>
          </p:spPr>
        </p:pic>
      </p:grpSp>
      <p:pic>
        <p:nvPicPr>
          <p:cNvPr id="55" name="Graphic 54">
            <a:extLst>
              <a:ext uri="{FF2B5EF4-FFF2-40B4-BE49-F238E27FC236}">
                <a16:creationId xmlns:a16="http://schemas.microsoft.com/office/drawing/2014/main" id="{B1C36C1C-7E34-92E5-29C6-220334AE038A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909438" y="3916055"/>
            <a:ext cx="229098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11768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C8435BE-754E-251B-691E-9C530C858A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C8435BE-754E-251B-691E-9C530C858A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320C372-513D-91E3-5FA1-4F9414A481A8}"/>
              </a:ext>
            </a:extLst>
          </p:cNvPr>
          <p:cNvCxnSpPr>
            <a:stCxn id="11" idx="6"/>
            <a:endCxn id="7" idx="2"/>
          </p:cNvCxnSpPr>
          <p:nvPr/>
        </p:nvCxnSpPr>
        <p:spPr>
          <a:xfrm flipV="1">
            <a:off x="347768" y="1700304"/>
            <a:ext cx="0" cy="209053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32340E18-A06F-A967-499B-AC2CF9822B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607" y="202634"/>
            <a:ext cx="8604931" cy="369332"/>
          </a:xfrm>
        </p:spPr>
        <p:txBody>
          <a:bodyPr vert="horz"/>
          <a:lstStyle/>
          <a:p>
            <a:r>
              <a:rPr lang="en-US" dirty="0"/>
              <a:t>Brain Injury: Multiple Causes / Multiple Effect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AA82EB9-A695-E6E0-83DE-DAEAADFA972F}"/>
              </a:ext>
            </a:extLst>
          </p:cNvPr>
          <p:cNvSpPr txBox="1"/>
          <p:nvPr/>
        </p:nvSpPr>
        <p:spPr>
          <a:xfrm>
            <a:off x="268538" y="1027338"/>
            <a:ext cx="8604000" cy="360000"/>
          </a:xfrm>
          <a:prstGeom prst="rect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1500" b="1">
                <a:solidFill>
                  <a:schemeClr val="l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defRPr/>
            </a:pPr>
            <a:r>
              <a:rPr lang="en-US" sz="1400" dirty="0">
                <a:solidFill>
                  <a:srgbClr val="FFFFFF"/>
                </a:solidFill>
              </a:rPr>
              <a:t>Causes of Brain Injury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4C112E6E-CC61-77EE-B587-8709A07A7368}"/>
              </a:ext>
            </a:extLst>
          </p:cNvPr>
          <p:cNvSpPr>
            <a:spLocks noChangeAspect="1"/>
          </p:cNvSpPr>
          <p:nvPr/>
        </p:nvSpPr>
        <p:spPr>
          <a:xfrm rot="16200000">
            <a:off x="267608" y="1539984"/>
            <a:ext cx="160319" cy="160321"/>
          </a:xfrm>
          <a:prstGeom prst="ellipse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28575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t"/>
          <a:lstStyle/>
          <a:p>
            <a:endParaRPr lang="en-US" b="1">
              <a:solidFill>
                <a:srgbClr val="04143F"/>
              </a:solidFill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1585746-FB96-3C5D-F086-792C83762B9A}"/>
              </a:ext>
            </a:extLst>
          </p:cNvPr>
          <p:cNvSpPr/>
          <p:nvPr/>
        </p:nvSpPr>
        <p:spPr>
          <a:xfrm>
            <a:off x="567475" y="1497034"/>
            <a:ext cx="8304132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umatic – </a:t>
            </a:r>
            <a:r>
              <a:rPr kumimoji="1" lang="en-US" i="0" u="none" strike="noStrike" kern="120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VA, Sports, Assaults, Falls, Military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6A452F2E-4C69-E63B-DF2A-F9599BA90776}"/>
              </a:ext>
            </a:extLst>
          </p:cNvPr>
          <p:cNvSpPr>
            <a:spLocks noChangeAspect="1"/>
          </p:cNvSpPr>
          <p:nvPr/>
        </p:nvSpPr>
        <p:spPr>
          <a:xfrm rot="16200000">
            <a:off x="267608" y="1909356"/>
            <a:ext cx="160319" cy="160321"/>
          </a:xfrm>
          <a:prstGeom prst="ellipse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28575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t"/>
          <a:lstStyle/>
          <a:p>
            <a:endParaRPr lang="en-US" sz="1200" b="1">
              <a:solidFill>
                <a:srgbClr val="04143F"/>
              </a:solidFill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23E3A7E-BFC1-AC24-6D10-0281896AB2F7}"/>
              </a:ext>
            </a:extLst>
          </p:cNvPr>
          <p:cNvSpPr/>
          <p:nvPr/>
        </p:nvSpPr>
        <p:spPr>
          <a:xfrm>
            <a:off x="567475" y="1866406"/>
            <a:ext cx="8304132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n-traumatic – </a:t>
            </a:r>
            <a:r>
              <a:rPr kumimoji="1" lang="en-US" i="0" u="none" strike="noStrike" kern="120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oke, Chemotherapy, Virus, Hemorrhage</a:t>
            </a:r>
          </a:p>
        </p:txBody>
      </p:sp>
      <p:pic>
        <p:nvPicPr>
          <p:cNvPr id="14" name="Picture 4" descr="The complexity of neuroinflammation consequent to traumatic brain injury:  from research evidence to potential treatments | SpringerLink">
            <a:extLst>
              <a:ext uri="{FF2B5EF4-FFF2-40B4-BE49-F238E27FC236}">
                <a16:creationId xmlns:a16="http://schemas.microsoft.com/office/drawing/2014/main" id="{ACCA3DFE-299A-7A35-413A-39AABC4486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181257" y="1497034"/>
            <a:ext cx="3691281" cy="2715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96581525-5FB9-8A9C-0214-E06C168561F5}"/>
              </a:ext>
            </a:extLst>
          </p:cNvPr>
          <p:cNvSpPr/>
          <p:nvPr/>
        </p:nvSpPr>
        <p:spPr>
          <a:xfrm>
            <a:off x="260852" y="2534026"/>
            <a:ext cx="1723376" cy="633985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rebral edema Cerebral hypoxia and ischemia Cerebral metabolic impairment Cerebral vasospasm Increased intracerebral pressure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8F09960C-E886-56C9-4F1A-307B2C4897AF}"/>
              </a:ext>
            </a:extLst>
          </p:cNvPr>
          <p:cNvSpPr/>
          <p:nvPr/>
        </p:nvSpPr>
        <p:spPr>
          <a:xfrm>
            <a:off x="1281386" y="3258066"/>
            <a:ext cx="612000" cy="178122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l death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00390F8-BA5A-7EF4-BEDA-1254F37608F9}"/>
              </a:ext>
            </a:extLst>
          </p:cNvPr>
          <p:cNvSpPr/>
          <p:nvPr/>
        </p:nvSpPr>
        <p:spPr>
          <a:xfrm>
            <a:off x="891278" y="3789003"/>
            <a:ext cx="1133358" cy="138925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reased Glutamate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1EC5385-8FC6-0F0A-5735-D5BC9095C86D}"/>
              </a:ext>
            </a:extLst>
          </p:cNvPr>
          <p:cNvSpPr/>
          <p:nvPr/>
        </p:nvSpPr>
        <p:spPr>
          <a:xfrm>
            <a:off x="3318786" y="3686811"/>
            <a:ext cx="1356051" cy="431244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tochondrial dysfunction Impairment of Glucose metabolism 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D750E633-EA77-6DF9-50C4-02375893D3AA}"/>
              </a:ext>
            </a:extLst>
          </p:cNvPr>
          <p:cNvSpPr/>
          <p:nvPr/>
        </p:nvSpPr>
        <p:spPr>
          <a:xfrm>
            <a:off x="3441842" y="3258066"/>
            <a:ext cx="701828" cy="178122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BB damag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7E6387BB-A851-5868-5EC8-F1C6F0A8FE00}"/>
              </a:ext>
            </a:extLst>
          </p:cNvPr>
          <p:cNvSpPr/>
          <p:nvPr/>
        </p:nvSpPr>
        <p:spPr>
          <a:xfrm>
            <a:off x="3347987" y="2781707"/>
            <a:ext cx="756000" cy="178122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citotoxicity</a:t>
            </a:r>
          </a:p>
        </p:txBody>
      </p:sp>
      <p:pic>
        <p:nvPicPr>
          <p:cNvPr id="49" name="Picture 48" descr="A picture containing fruit&#10;&#10;Description automatically generated">
            <a:extLst>
              <a:ext uri="{FF2B5EF4-FFF2-40B4-BE49-F238E27FC236}">
                <a16:creationId xmlns:a16="http://schemas.microsoft.com/office/drawing/2014/main" id="{704505A2-862C-047A-D9FD-90A723BC8FF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767" r="3767"/>
          <a:stretch/>
        </p:blipFill>
        <p:spPr>
          <a:xfrm>
            <a:off x="2249516" y="2930962"/>
            <a:ext cx="848070" cy="848070"/>
          </a:xfrm>
          <a:prstGeom prst="ellipse">
            <a:avLst/>
          </a:prstGeom>
          <a:ln>
            <a:solidFill>
              <a:schemeClr val="bg1">
                <a:lumMod val="50000"/>
              </a:schemeClr>
            </a:solidFill>
          </a:ln>
          <a:effectLst/>
        </p:spPr>
      </p:pic>
      <p:sp>
        <p:nvSpPr>
          <p:cNvPr id="51" name="Rectangle 50">
            <a:extLst>
              <a:ext uri="{FF2B5EF4-FFF2-40B4-BE49-F238E27FC236}">
                <a16:creationId xmlns:a16="http://schemas.microsoft.com/office/drawing/2014/main" id="{F668F697-BE3A-102E-8292-98C8F6776CBB}"/>
              </a:ext>
            </a:extLst>
          </p:cNvPr>
          <p:cNvSpPr/>
          <p:nvPr/>
        </p:nvSpPr>
        <p:spPr>
          <a:xfrm>
            <a:off x="267606" y="4296349"/>
            <a:ext cx="8604000" cy="299184"/>
          </a:xfrm>
          <a:prstGeom prst="rect">
            <a:avLst/>
          </a:prstGeom>
          <a:noFill/>
          <a:ln w="12700">
            <a:solidFill>
              <a:srgbClr val="DF623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spite the huge unmet need, there are no neuroprotective medication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2455D55-6FE9-8565-073A-09DEC330D134}"/>
              </a:ext>
            </a:extLst>
          </p:cNvPr>
          <p:cNvGrpSpPr/>
          <p:nvPr/>
        </p:nvGrpSpPr>
        <p:grpSpPr>
          <a:xfrm>
            <a:off x="6093184" y="2563049"/>
            <a:ext cx="1212852" cy="1190196"/>
            <a:chOff x="2504448" y="542821"/>
            <a:chExt cx="4135103" cy="4057857"/>
          </a:xfrm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1B5BEE5C-266C-DE41-8621-FF4C82692CAB}"/>
                </a:ext>
              </a:extLst>
            </p:cNvPr>
            <p:cNvGrpSpPr/>
            <p:nvPr/>
          </p:nvGrpSpPr>
          <p:grpSpPr>
            <a:xfrm>
              <a:off x="4044925" y="542821"/>
              <a:ext cx="1054149" cy="1054149"/>
              <a:chOff x="2520925" y="3071"/>
              <a:chExt cx="1054149" cy="1054149"/>
            </a:xfrm>
          </p:grpSpPr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FA1A4A31-7F77-EAE4-D75B-65766A150884}"/>
                  </a:ext>
                </a:extLst>
              </p:cNvPr>
              <p:cNvSpPr/>
              <p:nvPr/>
            </p:nvSpPr>
            <p:spPr>
              <a:xfrm>
                <a:off x="2520925" y="3071"/>
                <a:ext cx="1054149" cy="1054149"/>
              </a:xfrm>
              <a:prstGeom prst="ellipse">
                <a:avLst/>
              </a:pr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7" name="Oval 4">
                <a:extLst>
                  <a:ext uri="{FF2B5EF4-FFF2-40B4-BE49-F238E27FC236}">
                    <a16:creationId xmlns:a16="http://schemas.microsoft.com/office/drawing/2014/main" id="{F402D74A-DC54-EED7-2EB7-328A6FE58E9E}"/>
                  </a:ext>
                </a:extLst>
              </p:cNvPr>
              <p:cNvSpPr txBox="1"/>
              <p:nvPr/>
            </p:nvSpPr>
            <p:spPr>
              <a:xfrm>
                <a:off x="2675302" y="157448"/>
                <a:ext cx="745395" cy="745395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27940" tIns="27940" rIns="27940" bIns="27940" numCol="1" spcCol="1270" anchor="ctr" anchorCtr="0">
                <a:noAutofit/>
              </a:bodyPr>
              <a:lstStyle/>
              <a:p>
                <a:pPr marL="0" lvl="0" indent="0" algn="ctr" defTabSz="9779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2200" kern="1200"/>
              </a:p>
            </p:txBody>
          </p: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B2864BBB-6505-19C8-752C-5DC4F1E713FA}"/>
                </a:ext>
              </a:extLst>
            </p:cNvPr>
            <p:cNvGrpSpPr/>
            <p:nvPr/>
          </p:nvGrpSpPr>
          <p:grpSpPr>
            <a:xfrm>
              <a:off x="5280291" y="1137742"/>
              <a:ext cx="1054149" cy="1054149"/>
              <a:chOff x="3756291" y="597992"/>
              <a:chExt cx="1054149" cy="1054149"/>
            </a:xfrm>
          </p:grpSpPr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53D9BC65-9941-A2C3-B233-4D4002DE6BA7}"/>
                  </a:ext>
                </a:extLst>
              </p:cNvPr>
              <p:cNvSpPr/>
              <p:nvPr/>
            </p:nvSpPr>
            <p:spPr>
              <a:xfrm>
                <a:off x="3756291" y="597992"/>
                <a:ext cx="1054149" cy="1054149"/>
              </a:xfrm>
              <a:prstGeom prst="ellipse">
                <a:avLst/>
              </a:pr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5" name="Oval 6">
                <a:extLst>
                  <a:ext uri="{FF2B5EF4-FFF2-40B4-BE49-F238E27FC236}">
                    <a16:creationId xmlns:a16="http://schemas.microsoft.com/office/drawing/2014/main" id="{5B01DF58-53E1-F51F-B5E5-3B71859EE7E1}"/>
                  </a:ext>
                </a:extLst>
              </p:cNvPr>
              <p:cNvSpPr txBox="1"/>
              <p:nvPr/>
            </p:nvSpPr>
            <p:spPr>
              <a:xfrm>
                <a:off x="3910668" y="752369"/>
                <a:ext cx="745395" cy="745395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27940" tIns="27940" rIns="27940" bIns="27940" numCol="1" spcCol="1270" anchor="ctr" anchorCtr="0">
                <a:noAutofit/>
              </a:bodyPr>
              <a:lstStyle/>
              <a:p>
                <a:pPr marL="0" lvl="0" indent="0" algn="ctr" defTabSz="9779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2200" kern="1200"/>
              </a:p>
            </p:txBody>
          </p: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C00B14E2-0CB7-9CC9-C7CD-149736248C08}"/>
                </a:ext>
              </a:extLst>
            </p:cNvPr>
            <p:cNvGrpSpPr/>
            <p:nvPr/>
          </p:nvGrpSpPr>
          <p:grpSpPr>
            <a:xfrm>
              <a:off x="5585402" y="2474518"/>
              <a:ext cx="1054149" cy="1054149"/>
              <a:chOff x="4061402" y="1934768"/>
              <a:chExt cx="1054149" cy="1054149"/>
            </a:xfrm>
          </p:grpSpPr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B7D2FEB7-340C-B993-41AE-78B27C4F14CC}"/>
                  </a:ext>
                </a:extLst>
              </p:cNvPr>
              <p:cNvSpPr/>
              <p:nvPr/>
            </p:nvSpPr>
            <p:spPr>
              <a:xfrm>
                <a:off x="4061402" y="1934768"/>
                <a:ext cx="1054149" cy="1054149"/>
              </a:xfrm>
              <a:prstGeom prst="ellipse">
                <a:avLst/>
              </a:pr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3" name="Oval 8">
                <a:extLst>
                  <a:ext uri="{FF2B5EF4-FFF2-40B4-BE49-F238E27FC236}">
                    <a16:creationId xmlns:a16="http://schemas.microsoft.com/office/drawing/2014/main" id="{153E758D-85E3-5E18-9788-0F4856826BB0}"/>
                  </a:ext>
                </a:extLst>
              </p:cNvPr>
              <p:cNvSpPr txBox="1"/>
              <p:nvPr/>
            </p:nvSpPr>
            <p:spPr>
              <a:xfrm>
                <a:off x="4215779" y="2089145"/>
                <a:ext cx="745395" cy="745395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27940" tIns="27940" rIns="27940" bIns="27940" numCol="1" spcCol="1270" anchor="ctr" anchorCtr="0">
                <a:noAutofit/>
              </a:bodyPr>
              <a:lstStyle/>
              <a:p>
                <a:pPr marL="0" lvl="0" indent="0" algn="ctr" defTabSz="9779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2200" kern="1200"/>
              </a:p>
            </p:txBody>
          </p: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7BEC1A34-3321-05D9-6AF9-48DDF3884F56}"/>
                </a:ext>
              </a:extLst>
            </p:cNvPr>
            <p:cNvGrpSpPr/>
            <p:nvPr/>
          </p:nvGrpSpPr>
          <p:grpSpPr>
            <a:xfrm>
              <a:off x="4730501" y="3546529"/>
              <a:ext cx="1054149" cy="1054149"/>
              <a:chOff x="3206501" y="3006779"/>
              <a:chExt cx="1054149" cy="1054149"/>
            </a:xfrm>
          </p:grpSpPr>
          <p:sp>
            <p:nvSpPr>
              <p:cNvPr id="60" name="Oval 59">
                <a:extLst>
                  <a:ext uri="{FF2B5EF4-FFF2-40B4-BE49-F238E27FC236}">
                    <a16:creationId xmlns:a16="http://schemas.microsoft.com/office/drawing/2014/main" id="{2B029261-AF79-D885-7D52-E2E33C8D7F49}"/>
                  </a:ext>
                </a:extLst>
              </p:cNvPr>
              <p:cNvSpPr/>
              <p:nvPr/>
            </p:nvSpPr>
            <p:spPr>
              <a:xfrm>
                <a:off x="3206501" y="3006779"/>
                <a:ext cx="1054149" cy="1054149"/>
              </a:xfrm>
              <a:prstGeom prst="ellipse">
                <a:avLst/>
              </a:pr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1" name="Oval 10">
                <a:extLst>
                  <a:ext uri="{FF2B5EF4-FFF2-40B4-BE49-F238E27FC236}">
                    <a16:creationId xmlns:a16="http://schemas.microsoft.com/office/drawing/2014/main" id="{9D172A33-D9A0-5389-8A4C-EDDECC775A01}"/>
                  </a:ext>
                </a:extLst>
              </p:cNvPr>
              <p:cNvSpPr txBox="1"/>
              <p:nvPr/>
            </p:nvSpPr>
            <p:spPr>
              <a:xfrm>
                <a:off x="3360878" y="3161156"/>
                <a:ext cx="745395" cy="745395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27940" tIns="27940" rIns="27940" bIns="27940" numCol="1" spcCol="1270" anchor="ctr" anchorCtr="0">
                <a:noAutofit/>
              </a:bodyPr>
              <a:lstStyle/>
              <a:p>
                <a:pPr marL="0" lvl="0" indent="0" algn="ctr" defTabSz="9779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2200" kern="1200" dirty="0"/>
              </a:p>
            </p:txBody>
          </p: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72E885D7-6FE8-0A2C-DD2C-09C548FF8158}"/>
                </a:ext>
              </a:extLst>
            </p:cNvPr>
            <p:cNvGrpSpPr/>
            <p:nvPr/>
          </p:nvGrpSpPr>
          <p:grpSpPr>
            <a:xfrm>
              <a:off x="3359348" y="3546529"/>
              <a:ext cx="1054149" cy="1054149"/>
              <a:chOff x="1835348" y="3006779"/>
              <a:chExt cx="1054149" cy="1054149"/>
            </a:xfrm>
          </p:grpSpPr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B1312B2D-81AA-D040-1664-8ACE10EF352F}"/>
                  </a:ext>
                </a:extLst>
              </p:cNvPr>
              <p:cNvSpPr/>
              <p:nvPr/>
            </p:nvSpPr>
            <p:spPr>
              <a:xfrm>
                <a:off x="1835348" y="3006779"/>
                <a:ext cx="1054149" cy="1054149"/>
              </a:xfrm>
              <a:prstGeom prst="ellipse">
                <a:avLst/>
              </a:pr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59" name="Oval 12">
                <a:extLst>
                  <a:ext uri="{FF2B5EF4-FFF2-40B4-BE49-F238E27FC236}">
                    <a16:creationId xmlns:a16="http://schemas.microsoft.com/office/drawing/2014/main" id="{2182BA6D-8884-980E-F137-9B1D0A28A575}"/>
                  </a:ext>
                </a:extLst>
              </p:cNvPr>
              <p:cNvSpPr txBox="1"/>
              <p:nvPr/>
            </p:nvSpPr>
            <p:spPr>
              <a:xfrm>
                <a:off x="1989725" y="3161156"/>
                <a:ext cx="745395" cy="745395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59690" tIns="59690" rIns="59690" bIns="59690" numCol="1" spcCol="1270" anchor="ctr" anchorCtr="0">
                <a:noAutofit/>
              </a:bodyPr>
              <a:lstStyle/>
              <a:p>
                <a:pPr marL="0" lvl="0" indent="0" algn="ctr" defTabSz="20891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4700" kern="1200" dirty="0"/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4648BEA1-108A-D00F-F4A8-3872A8E43647}"/>
                </a:ext>
              </a:extLst>
            </p:cNvPr>
            <p:cNvGrpSpPr/>
            <p:nvPr/>
          </p:nvGrpSpPr>
          <p:grpSpPr>
            <a:xfrm>
              <a:off x="2504448" y="2474518"/>
              <a:ext cx="1054149" cy="1054149"/>
              <a:chOff x="980448" y="1934768"/>
              <a:chExt cx="1054149" cy="1054149"/>
            </a:xfrm>
          </p:grpSpPr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65BFA00E-3A6B-E8E1-58A2-511B31EE86AD}"/>
                  </a:ext>
                </a:extLst>
              </p:cNvPr>
              <p:cNvSpPr/>
              <p:nvPr/>
            </p:nvSpPr>
            <p:spPr>
              <a:xfrm>
                <a:off x="980448" y="1934768"/>
                <a:ext cx="1054149" cy="1054149"/>
              </a:xfrm>
              <a:prstGeom prst="ellipse">
                <a:avLst/>
              </a:pr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57" name="Oval 14">
                <a:extLst>
                  <a:ext uri="{FF2B5EF4-FFF2-40B4-BE49-F238E27FC236}">
                    <a16:creationId xmlns:a16="http://schemas.microsoft.com/office/drawing/2014/main" id="{B6A860AC-526A-B632-7CC7-121B9ED9A292}"/>
                  </a:ext>
                </a:extLst>
              </p:cNvPr>
              <p:cNvSpPr txBox="1"/>
              <p:nvPr/>
            </p:nvSpPr>
            <p:spPr>
              <a:xfrm>
                <a:off x="1134825" y="2089145"/>
                <a:ext cx="745395" cy="745395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59690" tIns="59690" rIns="59690" bIns="59690" numCol="1" spcCol="1270" anchor="ctr" anchorCtr="0">
                <a:noAutofit/>
              </a:bodyPr>
              <a:lstStyle/>
              <a:p>
                <a:pPr marL="0" lvl="0" indent="0" algn="ctr" defTabSz="20891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4700" kern="1200" dirty="0"/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6E1F319B-7AED-96F8-B111-CF7DE4F7D5DF}"/>
                </a:ext>
              </a:extLst>
            </p:cNvPr>
            <p:cNvGrpSpPr/>
            <p:nvPr/>
          </p:nvGrpSpPr>
          <p:grpSpPr>
            <a:xfrm>
              <a:off x="2809558" y="1137742"/>
              <a:ext cx="1054149" cy="1054149"/>
              <a:chOff x="1285558" y="597992"/>
              <a:chExt cx="1054149" cy="1054149"/>
            </a:xfrm>
          </p:grpSpPr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B14D0F74-E5EA-F432-2505-D14DA350FEA6}"/>
                  </a:ext>
                </a:extLst>
              </p:cNvPr>
              <p:cNvSpPr/>
              <p:nvPr/>
            </p:nvSpPr>
            <p:spPr>
              <a:xfrm>
                <a:off x="1285558" y="597992"/>
                <a:ext cx="1054149" cy="1054149"/>
              </a:xfrm>
              <a:prstGeom prst="ellipse">
                <a:avLst/>
              </a:pr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55" name="Oval 16">
                <a:extLst>
                  <a:ext uri="{FF2B5EF4-FFF2-40B4-BE49-F238E27FC236}">
                    <a16:creationId xmlns:a16="http://schemas.microsoft.com/office/drawing/2014/main" id="{C6D48092-8976-0391-E589-2F8CFFEF4697}"/>
                  </a:ext>
                </a:extLst>
              </p:cNvPr>
              <p:cNvSpPr txBox="1"/>
              <p:nvPr/>
            </p:nvSpPr>
            <p:spPr>
              <a:xfrm>
                <a:off x="1439935" y="752369"/>
                <a:ext cx="745395" cy="745395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59690" tIns="59690" rIns="59690" bIns="59690" numCol="1" spcCol="1270" anchor="ctr" anchorCtr="0">
                <a:noAutofit/>
              </a:bodyPr>
              <a:lstStyle/>
              <a:p>
                <a:pPr marL="0" lvl="0" indent="0" algn="ctr" defTabSz="20891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n-US" sz="4700" kern="1200" dirty="0"/>
              </a:p>
            </p:txBody>
          </p:sp>
        </p:grpSp>
      </p:grp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2BB2026B-97B9-9158-0B63-CB3F233B6960}"/>
              </a:ext>
            </a:extLst>
          </p:cNvPr>
          <p:cNvCxnSpPr>
            <a:stCxn id="49" idx="7"/>
          </p:cNvCxnSpPr>
          <p:nvPr/>
        </p:nvCxnSpPr>
        <p:spPr>
          <a:xfrm flipV="1">
            <a:off x="2973389" y="2872238"/>
            <a:ext cx="286195" cy="18292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29474FBA-549C-3B6F-95D6-9CB74EFDADB7}"/>
              </a:ext>
            </a:extLst>
          </p:cNvPr>
          <p:cNvCxnSpPr>
            <a:cxnSpLocks/>
          </p:cNvCxnSpPr>
          <p:nvPr/>
        </p:nvCxnSpPr>
        <p:spPr>
          <a:xfrm>
            <a:off x="2973389" y="3675545"/>
            <a:ext cx="286195" cy="18292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8AEF5029-1D91-A4AA-BD25-EAE24130D31F}"/>
              </a:ext>
            </a:extLst>
          </p:cNvPr>
          <p:cNvCxnSpPr>
            <a:stCxn id="49" idx="6"/>
          </p:cNvCxnSpPr>
          <p:nvPr/>
        </p:nvCxnSpPr>
        <p:spPr>
          <a:xfrm>
            <a:off x="3097586" y="3354997"/>
            <a:ext cx="277306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4FE3223-339B-E77A-C068-1A25E110BA03}"/>
              </a:ext>
            </a:extLst>
          </p:cNvPr>
          <p:cNvGrpSpPr/>
          <p:nvPr/>
        </p:nvGrpSpPr>
        <p:grpSpPr>
          <a:xfrm flipH="1">
            <a:off x="1974390" y="2872238"/>
            <a:ext cx="401503" cy="986228"/>
            <a:chOff x="2134925" y="2872238"/>
            <a:chExt cx="401503" cy="986228"/>
          </a:xfrm>
        </p:grpSpPr>
        <p:cxnSp>
          <p:nvCxnSpPr>
            <p:cNvPr id="69" name="Straight Arrow Connector 68">
              <a:extLst>
                <a:ext uri="{FF2B5EF4-FFF2-40B4-BE49-F238E27FC236}">
                  <a16:creationId xmlns:a16="http://schemas.microsoft.com/office/drawing/2014/main" id="{04F081B0-9E4D-8D17-9732-130A763D3F1C}"/>
                </a:ext>
              </a:extLst>
            </p:cNvPr>
            <p:cNvCxnSpPr/>
            <p:nvPr/>
          </p:nvCxnSpPr>
          <p:spPr>
            <a:xfrm flipV="1">
              <a:off x="2134925" y="2872238"/>
              <a:ext cx="286195" cy="182921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Arrow Connector 69">
              <a:extLst>
                <a:ext uri="{FF2B5EF4-FFF2-40B4-BE49-F238E27FC236}">
                  <a16:creationId xmlns:a16="http://schemas.microsoft.com/office/drawing/2014/main" id="{C1A79DF4-B926-EA31-7BFC-F77BF1033B94}"/>
                </a:ext>
              </a:extLst>
            </p:cNvPr>
            <p:cNvCxnSpPr>
              <a:cxnSpLocks/>
            </p:cNvCxnSpPr>
            <p:nvPr/>
          </p:nvCxnSpPr>
          <p:spPr>
            <a:xfrm>
              <a:off x="2134925" y="3675545"/>
              <a:ext cx="286195" cy="182921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Arrow Connector 70">
              <a:extLst>
                <a:ext uri="{FF2B5EF4-FFF2-40B4-BE49-F238E27FC236}">
                  <a16:creationId xmlns:a16="http://schemas.microsoft.com/office/drawing/2014/main" id="{33D35C66-3356-9D75-93CD-D32B402CF98A}"/>
                </a:ext>
              </a:extLst>
            </p:cNvPr>
            <p:cNvCxnSpPr/>
            <p:nvPr/>
          </p:nvCxnSpPr>
          <p:spPr>
            <a:xfrm>
              <a:off x="2259122" y="3354997"/>
              <a:ext cx="277306" cy="0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EDED36B8-0819-89FA-4CA9-973B800F18A0}"/>
              </a:ext>
            </a:extLst>
          </p:cNvPr>
          <p:cNvCxnSpPr>
            <a:stCxn id="49" idx="0"/>
          </p:cNvCxnSpPr>
          <p:nvPr/>
        </p:nvCxnSpPr>
        <p:spPr>
          <a:xfrm flipV="1">
            <a:off x="2673551" y="2678607"/>
            <a:ext cx="0" cy="252355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 71">
            <a:extLst>
              <a:ext uri="{FF2B5EF4-FFF2-40B4-BE49-F238E27FC236}">
                <a16:creationId xmlns:a16="http://schemas.microsoft.com/office/drawing/2014/main" id="{C2EB7A2E-0A92-7A29-C41E-D0BA9699BE30}"/>
              </a:ext>
            </a:extLst>
          </p:cNvPr>
          <p:cNvSpPr/>
          <p:nvPr/>
        </p:nvSpPr>
        <p:spPr>
          <a:xfrm>
            <a:off x="2048184" y="2186313"/>
            <a:ext cx="1270602" cy="489117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ple</a:t>
            </a:r>
            <a:r>
              <a:rPr kumimoji="1" lang="en-US" sz="1000" kern="1200" dirty="0" err="1">
                <a:solidFill>
                  <a:srgbClr val="04143F"/>
                </a:solidFill>
                <a:latin typeface="Calibri" panose="020F0502020204030204"/>
                <a:ea typeface="+mn-ea"/>
                <a:cs typeface="+mn-cs"/>
              </a:rPr>
              <a:t>ment</a:t>
            </a:r>
            <a:r>
              <a:rPr kumimoji="1" lang="en-US" sz="1000" kern="1200" dirty="0">
                <a:solidFill>
                  <a:srgbClr val="04143F"/>
                </a:solidFill>
                <a:latin typeface="Calibri" panose="020F0502020204030204"/>
                <a:ea typeface="+mn-ea"/>
                <a:cs typeface="+mn-cs"/>
              </a:rPr>
              <a:t> </a:t>
            </a:r>
            <a:br>
              <a:rPr kumimoji="1" lang="en-US" sz="1000" kern="1200" dirty="0">
                <a:solidFill>
                  <a:srgbClr val="04143F"/>
                </a:solidFill>
                <a:latin typeface="Calibri" panose="020F0502020204030204"/>
                <a:ea typeface="+mn-ea"/>
                <a:cs typeface="+mn-cs"/>
              </a:rPr>
            </a:br>
            <a:r>
              <a:rPr kumimoji="1" lang="en-US" sz="1000" kern="1200" dirty="0">
                <a:solidFill>
                  <a:srgbClr val="04143F"/>
                </a:solidFill>
                <a:latin typeface="Calibri" panose="020F0502020204030204"/>
                <a:ea typeface="+mn-ea"/>
                <a:cs typeface="+mn-cs"/>
              </a:rPr>
              <a:t>activation Inflammation &amp; ROS generation </a:t>
            </a:r>
            <a:endParaRPr kumimoji="1" lang="en-US" sz="1000" i="0" u="none" strike="noStrike" kern="1200" cap="none" spc="0" normalizeH="0" baseline="0" noProof="0" dirty="0">
              <a:ln>
                <a:noFill/>
              </a:ln>
              <a:solidFill>
                <a:srgbClr val="04143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08970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B1F7F7-5C60-8EF7-470B-E14B18852A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B1F7F7-5C60-8EF7-470B-E14B18852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83A67689-E1B0-40BA-40D4-6D46C9F29693}"/>
              </a:ext>
            </a:extLst>
          </p:cNvPr>
          <p:cNvSpPr/>
          <p:nvPr/>
        </p:nvSpPr>
        <p:spPr>
          <a:xfrm>
            <a:off x="5806055" y="1027337"/>
            <a:ext cx="3066482" cy="361731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5B4ACF-67F2-6BA3-EFDF-7DB7DC23E6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607" y="202634"/>
            <a:ext cx="8604931" cy="369332"/>
          </a:xfrm>
        </p:spPr>
        <p:txBody>
          <a:bodyPr vert="horz"/>
          <a:lstStyle/>
          <a:p>
            <a:r>
              <a:rPr lang="en-US" dirty="0"/>
              <a:t>Lessons from Nature: Neurosteroid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BF3A8A5-1C59-0E64-5063-7F2050C646C2}"/>
              </a:ext>
            </a:extLst>
          </p:cNvPr>
          <p:cNvCxnSpPr>
            <a:cxnSpLocks/>
            <a:stCxn id="12" idx="6"/>
          </p:cNvCxnSpPr>
          <p:nvPr/>
        </p:nvCxnSpPr>
        <p:spPr>
          <a:xfrm flipH="1" flipV="1">
            <a:off x="347767" y="1795752"/>
            <a:ext cx="1" cy="19853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E9F2E20D-3416-C554-1391-F0D4BB880A7C}"/>
              </a:ext>
            </a:extLst>
          </p:cNvPr>
          <p:cNvSpPr txBox="1"/>
          <p:nvPr/>
        </p:nvSpPr>
        <p:spPr>
          <a:xfrm>
            <a:off x="268537" y="1027338"/>
            <a:ext cx="5397971" cy="504000"/>
          </a:xfrm>
          <a:prstGeom prst="rect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1500" b="1">
                <a:solidFill>
                  <a:schemeClr val="l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defRPr/>
            </a:pPr>
            <a:r>
              <a:rPr lang="en-US" sz="1400" dirty="0">
                <a:solidFill>
                  <a:srgbClr val="FFFFFF"/>
                </a:solidFill>
              </a:rPr>
              <a:t>Neurosteroids: Endogenous response to brain injury (</a:t>
            </a:r>
            <a:r>
              <a:rPr lang="en-US" sz="1400" dirty="0" err="1">
                <a:solidFill>
                  <a:srgbClr val="FFFFFF"/>
                </a:solidFill>
              </a:rPr>
              <a:t>Guennoun</a:t>
            </a:r>
            <a:r>
              <a:rPr lang="en-US" sz="1400" dirty="0">
                <a:solidFill>
                  <a:srgbClr val="FFFFFF"/>
                </a:solidFill>
              </a:rPr>
              <a:t> et al., 2015 and 2020)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E11A8A54-E7CB-2138-74D7-CBA8081D2F50}"/>
              </a:ext>
            </a:extLst>
          </p:cNvPr>
          <p:cNvSpPr>
            <a:spLocks noChangeAspect="1"/>
          </p:cNvSpPr>
          <p:nvPr/>
        </p:nvSpPr>
        <p:spPr>
          <a:xfrm rot="16200000">
            <a:off x="267608" y="1635432"/>
            <a:ext cx="160319" cy="160321"/>
          </a:xfrm>
          <a:prstGeom prst="ellipse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28575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t"/>
          <a:lstStyle/>
          <a:p>
            <a:endParaRPr lang="en-US" b="1">
              <a:solidFill>
                <a:srgbClr val="04143F"/>
              </a:solidFill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76C8A31-E3E2-7829-4C25-F57F82BD7644}"/>
              </a:ext>
            </a:extLst>
          </p:cNvPr>
          <p:cNvSpPr>
            <a:spLocks noChangeAspect="1"/>
          </p:cNvSpPr>
          <p:nvPr/>
        </p:nvSpPr>
        <p:spPr>
          <a:xfrm rot="16200000">
            <a:off x="267608" y="1994287"/>
            <a:ext cx="160319" cy="160321"/>
          </a:xfrm>
          <a:prstGeom prst="ellipse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28575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t"/>
          <a:lstStyle/>
          <a:p>
            <a:endParaRPr lang="en-US" sz="1200" b="1">
              <a:solidFill>
                <a:srgbClr val="04143F"/>
              </a:solidFill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32151EF-BE4E-9D3B-2130-0D81A27B1819}"/>
              </a:ext>
            </a:extLst>
          </p:cNvPr>
          <p:cNvSpPr/>
          <p:nvPr/>
        </p:nvSpPr>
        <p:spPr>
          <a:xfrm>
            <a:off x="567475" y="1607870"/>
            <a:ext cx="2340000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i="0" u="none" strike="noStrike" kern="120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t on multiple receptor type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462699F-0B5A-13C1-1C7D-BCF0C3211F88}"/>
              </a:ext>
            </a:extLst>
          </p:cNvPr>
          <p:cNvSpPr/>
          <p:nvPr/>
        </p:nvSpPr>
        <p:spPr>
          <a:xfrm>
            <a:off x="567475" y="1966725"/>
            <a:ext cx="3284086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i="0" u="none" strike="noStrike" kern="120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zymatic changes</a:t>
            </a:r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DAAE455D-CB8A-2DE0-6672-572F6A841B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1834" y="1134335"/>
            <a:ext cx="2394925" cy="34033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ADE0912-EC84-16CE-14BD-CAF5C843667C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79252" y="2358861"/>
            <a:ext cx="3976540" cy="219600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06F69487-7BC1-F2B8-712D-B675EB27396B}"/>
              </a:ext>
            </a:extLst>
          </p:cNvPr>
          <p:cNvSpPr txBox="1"/>
          <p:nvPr/>
        </p:nvSpPr>
        <p:spPr>
          <a:xfrm>
            <a:off x="267606" y="4644649"/>
            <a:ext cx="3168000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7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te: </a:t>
            </a:r>
            <a:r>
              <a:rPr lang="fr-FR" sz="7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u et al., J. </a:t>
            </a:r>
            <a:r>
              <a:rPr lang="fr-FR" sz="700" dirty="0" err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urochem</a:t>
            </a:r>
            <a:r>
              <a:rPr lang="fr-FR" sz="7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2021</a:t>
            </a:r>
            <a:r>
              <a:rPr lang="en-US" sz="7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; </a:t>
            </a:r>
            <a:r>
              <a:rPr lang="fr-FR" sz="700" dirty="0" err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uennon</a:t>
            </a:r>
            <a:r>
              <a:rPr lang="fr-FR" sz="7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Int. J. Mol. Sciences 2020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900644F-794E-8781-C65A-A1FDDA57CE35}"/>
              </a:ext>
            </a:extLst>
          </p:cNvPr>
          <p:cNvSpPr/>
          <p:nvPr/>
        </p:nvSpPr>
        <p:spPr>
          <a:xfrm>
            <a:off x="3302064" y="1635433"/>
            <a:ext cx="2340000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i="0" u="none" strike="noStrike" kern="120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ceptor expression changes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A3A2CF6C-9AAD-14B3-628B-E388171C5904}"/>
              </a:ext>
            </a:extLst>
          </p:cNvPr>
          <p:cNvSpPr>
            <a:spLocks noChangeAspect="1"/>
          </p:cNvSpPr>
          <p:nvPr/>
        </p:nvSpPr>
        <p:spPr>
          <a:xfrm rot="16200000">
            <a:off x="3002197" y="1662995"/>
            <a:ext cx="160319" cy="160321"/>
          </a:xfrm>
          <a:prstGeom prst="ellipse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28575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t"/>
          <a:lstStyle/>
          <a:p>
            <a:endParaRPr lang="en-US" sz="1200" b="1">
              <a:solidFill>
                <a:srgbClr val="04143F"/>
              </a:solidFill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11069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EA5E755-B310-1041-7CCA-7D898E0426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EA5E755-B310-1041-7CCA-7D898E0426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5DE9EA2-0205-0FE5-A70D-90B06F25DA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607" y="202634"/>
            <a:ext cx="8604931" cy="369332"/>
          </a:xfrm>
        </p:spPr>
        <p:txBody>
          <a:bodyPr vert="horz"/>
          <a:lstStyle/>
          <a:p>
            <a:r>
              <a:rPr lang="en-US" dirty="0"/>
              <a:t>Neurosteroids And Neuroprotec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7DA3D29-81DA-4360-AE72-EED2B06AC5A5}"/>
              </a:ext>
            </a:extLst>
          </p:cNvPr>
          <p:cNvSpPr txBox="1"/>
          <p:nvPr/>
        </p:nvSpPr>
        <p:spPr>
          <a:xfrm>
            <a:off x="267607" y="4644649"/>
            <a:ext cx="1978443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7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te: Adapted from Sayeed and Stein, 2009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A9CB981-D94B-A6C6-18ED-6D70DEED8A66}"/>
              </a:ext>
            </a:extLst>
          </p:cNvPr>
          <p:cNvSpPr/>
          <p:nvPr/>
        </p:nvSpPr>
        <p:spPr>
          <a:xfrm>
            <a:off x="267606" y="4296349"/>
            <a:ext cx="8604000" cy="299184"/>
          </a:xfrm>
          <a:prstGeom prst="rect">
            <a:avLst/>
          </a:prstGeom>
          <a:noFill/>
          <a:ln w="12700">
            <a:solidFill>
              <a:srgbClr val="DF623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rong potential to improve function in </a:t>
            </a:r>
            <a:r>
              <a:rPr lang="en-US" b="1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ute through chronic </a:t>
            </a:r>
            <a:r>
              <a:rPr lang="en-US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hases of recover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9D0284D-DE00-B188-B0A8-0EECC108C497}"/>
              </a:ext>
            </a:extLst>
          </p:cNvPr>
          <p:cNvSpPr txBox="1"/>
          <p:nvPr/>
        </p:nvSpPr>
        <p:spPr>
          <a:xfrm>
            <a:off x="268538" y="888798"/>
            <a:ext cx="4227262" cy="360000"/>
          </a:xfrm>
          <a:prstGeom prst="rect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1500" b="1">
                <a:solidFill>
                  <a:schemeClr val="l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defRPr/>
            </a:pPr>
            <a:r>
              <a:rPr lang="en-US" sz="1400" dirty="0">
                <a:solidFill>
                  <a:srgbClr val="FFFFFF"/>
                </a:solidFill>
              </a:rPr>
              <a:t>Pathophysiology of Brain Injur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2AC8F1E-902C-90A2-DA19-2FC8E994F030}"/>
              </a:ext>
            </a:extLst>
          </p:cNvPr>
          <p:cNvSpPr txBox="1"/>
          <p:nvPr/>
        </p:nvSpPr>
        <p:spPr>
          <a:xfrm>
            <a:off x="4645276" y="888798"/>
            <a:ext cx="4227262" cy="360000"/>
          </a:xfrm>
          <a:prstGeom prst="rect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1500" b="1">
                <a:solidFill>
                  <a:schemeClr val="l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defRPr/>
            </a:pPr>
            <a:r>
              <a:rPr lang="en-US" sz="1400" dirty="0" err="1">
                <a:solidFill>
                  <a:srgbClr val="FFFFFF"/>
                </a:solidFill>
              </a:rPr>
              <a:t>Neurosteroid</a:t>
            </a:r>
            <a:r>
              <a:rPr lang="en-US" sz="1400" dirty="0">
                <a:solidFill>
                  <a:srgbClr val="FFFFFF"/>
                </a:solidFill>
              </a:rPr>
              <a:t> Mechanisms in Brain Injury</a:t>
            </a:r>
          </a:p>
        </p:txBody>
      </p: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57C5CCB9-6C6D-DF04-AC60-3A46184F9123}"/>
              </a:ext>
            </a:extLst>
          </p:cNvPr>
          <p:cNvCxnSpPr>
            <a:cxnSpLocks/>
          </p:cNvCxnSpPr>
          <p:nvPr/>
        </p:nvCxnSpPr>
        <p:spPr>
          <a:xfrm>
            <a:off x="1811729" y="1943304"/>
            <a:ext cx="132279" cy="228821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AB88ECDD-C363-0C81-3869-879643758224}"/>
              </a:ext>
            </a:extLst>
          </p:cNvPr>
          <p:cNvCxnSpPr>
            <a:cxnSpLocks/>
          </p:cNvCxnSpPr>
          <p:nvPr/>
        </p:nvCxnSpPr>
        <p:spPr>
          <a:xfrm>
            <a:off x="1354595" y="2244616"/>
            <a:ext cx="327734" cy="18935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8C03EBB1-DC3C-8EC2-53F2-63E629721E04}"/>
              </a:ext>
            </a:extLst>
          </p:cNvPr>
          <p:cNvCxnSpPr>
            <a:cxnSpLocks/>
          </p:cNvCxnSpPr>
          <p:nvPr/>
        </p:nvCxnSpPr>
        <p:spPr>
          <a:xfrm>
            <a:off x="1141695" y="2810148"/>
            <a:ext cx="43985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6C044E68-51FE-2683-CCEA-6BF56DC1E065}"/>
              </a:ext>
            </a:extLst>
          </p:cNvPr>
          <p:cNvCxnSpPr>
            <a:cxnSpLocks/>
          </p:cNvCxnSpPr>
          <p:nvPr/>
        </p:nvCxnSpPr>
        <p:spPr>
          <a:xfrm flipV="1">
            <a:off x="1349514" y="3167523"/>
            <a:ext cx="327734" cy="1891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EE3E0CB0-64B3-42BF-139A-F09D28DA3380}"/>
              </a:ext>
            </a:extLst>
          </p:cNvPr>
          <p:cNvCxnSpPr>
            <a:cxnSpLocks/>
          </p:cNvCxnSpPr>
          <p:nvPr/>
        </p:nvCxnSpPr>
        <p:spPr>
          <a:xfrm flipV="1">
            <a:off x="1754820" y="3443090"/>
            <a:ext cx="197995" cy="32265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D70F7DC3-1DFB-D434-4A1A-C298CC2391E4}"/>
              </a:ext>
            </a:extLst>
          </p:cNvPr>
          <p:cNvCxnSpPr>
            <a:cxnSpLocks/>
          </p:cNvCxnSpPr>
          <p:nvPr/>
        </p:nvCxnSpPr>
        <p:spPr>
          <a:xfrm flipV="1">
            <a:off x="2310189" y="3538785"/>
            <a:ext cx="0" cy="2776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0DECB380-0806-91A3-C9BB-BE5305CE37AA}"/>
              </a:ext>
            </a:extLst>
          </p:cNvPr>
          <p:cNvCxnSpPr>
            <a:cxnSpLocks/>
          </p:cNvCxnSpPr>
          <p:nvPr/>
        </p:nvCxnSpPr>
        <p:spPr>
          <a:xfrm flipH="1" flipV="1">
            <a:off x="2677726" y="3443090"/>
            <a:ext cx="197995" cy="32265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5BD08D21-0749-A7D6-2EB8-84BB36DBF309}"/>
              </a:ext>
            </a:extLst>
          </p:cNvPr>
          <p:cNvCxnSpPr>
            <a:cxnSpLocks/>
          </p:cNvCxnSpPr>
          <p:nvPr/>
        </p:nvCxnSpPr>
        <p:spPr>
          <a:xfrm flipH="1" flipV="1">
            <a:off x="2953293" y="3167523"/>
            <a:ext cx="322484" cy="19799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530D8C35-B914-C830-1E50-A0A225EE29E8}"/>
              </a:ext>
            </a:extLst>
          </p:cNvPr>
          <p:cNvCxnSpPr>
            <a:cxnSpLocks/>
          </p:cNvCxnSpPr>
          <p:nvPr/>
        </p:nvCxnSpPr>
        <p:spPr>
          <a:xfrm flipH="1">
            <a:off x="3048819" y="2799986"/>
            <a:ext cx="437656" cy="1016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0A3E6BAD-F359-21C3-9813-6D6C77B72283}"/>
              </a:ext>
            </a:extLst>
          </p:cNvPr>
          <p:cNvCxnSpPr>
            <a:cxnSpLocks/>
          </p:cNvCxnSpPr>
          <p:nvPr/>
        </p:nvCxnSpPr>
        <p:spPr>
          <a:xfrm flipH="1">
            <a:off x="2948212" y="2253423"/>
            <a:ext cx="332646" cy="180381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0DAFB4DA-9AD1-EC40-D535-DC3967CF5AFF}"/>
              </a:ext>
            </a:extLst>
          </p:cNvPr>
          <p:cNvCxnSpPr>
            <a:cxnSpLocks/>
          </p:cNvCxnSpPr>
          <p:nvPr/>
        </p:nvCxnSpPr>
        <p:spPr>
          <a:xfrm flipH="1">
            <a:off x="2677726" y="1937038"/>
            <a:ext cx="132787" cy="230007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083DD99D-C3A4-C0E8-8405-E2CCC625466E}"/>
              </a:ext>
            </a:extLst>
          </p:cNvPr>
          <p:cNvCxnSpPr>
            <a:cxnSpLocks/>
          </p:cNvCxnSpPr>
          <p:nvPr/>
        </p:nvCxnSpPr>
        <p:spPr>
          <a:xfrm>
            <a:off x="2310189" y="1725662"/>
            <a:ext cx="0" cy="3456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55BADC9C-F576-F6B0-F334-1B0A98BD8387}"/>
              </a:ext>
            </a:extLst>
          </p:cNvPr>
          <p:cNvSpPr/>
          <p:nvPr/>
        </p:nvSpPr>
        <p:spPr>
          <a:xfrm>
            <a:off x="1793270" y="2284253"/>
            <a:ext cx="1044000" cy="1044000"/>
          </a:xfrm>
          <a:custGeom>
            <a:avLst/>
            <a:gdLst>
              <a:gd name="connsiteX0" fmla="*/ 906477 w 906476"/>
              <a:gd name="connsiteY0" fmla="*/ 453239 h 906476"/>
              <a:gd name="connsiteX1" fmla="*/ 453238 w 906476"/>
              <a:gd name="connsiteY1" fmla="*/ 906477 h 906476"/>
              <a:gd name="connsiteX2" fmla="*/ 0 w 906476"/>
              <a:gd name="connsiteY2" fmla="*/ 453239 h 906476"/>
              <a:gd name="connsiteX3" fmla="*/ 453238 w 906476"/>
              <a:gd name="connsiteY3" fmla="*/ 0 h 906476"/>
              <a:gd name="connsiteX4" fmla="*/ 906477 w 906476"/>
              <a:gd name="connsiteY4" fmla="*/ 453239 h 906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6476" h="906476">
                <a:moveTo>
                  <a:pt x="906477" y="453239"/>
                </a:moveTo>
                <a:cubicBezTo>
                  <a:pt x="906477" y="703555"/>
                  <a:pt x="703555" y="906477"/>
                  <a:pt x="453238" y="906477"/>
                </a:cubicBezTo>
                <a:cubicBezTo>
                  <a:pt x="202922" y="906477"/>
                  <a:pt x="0" y="703555"/>
                  <a:pt x="0" y="453239"/>
                </a:cubicBezTo>
                <a:cubicBezTo>
                  <a:pt x="0" y="202922"/>
                  <a:pt x="202922" y="0"/>
                  <a:pt x="453238" y="0"/>
                </a:cubicBezTo>
                <a:cubicBezTo>
                  <a:pt x="703555" y="0"/>
                  <a:pt x="906477" y="202922"/>
                  <a:pt x="906477" y="453239"/>
                </a:cubicBezTo>
                <a:close/>
              </a:path>
            </a:pathLst>
          </a:custGeom>
          <a:solidFill>
            <a:srgbClr val="FFFFFF"/>
          </a:solidFill>
          <a:ln w="1694" cap="flat">
            <a:noFill/>
            <a:prstDash val="solid"/>
            <a:miter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/>
            <a:r>
              <a:rPr lang="en-US" sz="12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BI/</a:t>
            </a:r>
            <a:br>
              <a:rPr lang="en-US" sz="12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2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schemia</a:t>
            </a:r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517C4CBB-DEB0-7710-403E-5D0A7CA27083}"/>
              </a:ext>
            </a:extLst>
          </p:cNvPr>
          <p:cNvSpPr/>
          <p:nvPr/>
        </p:nvSpPr>
        <p:spPr>
          <a:xfrm>
            <a:off x="1627023" y="2628074"/>
            <a:ext cx="96293" cy="356188"/>
          </a:xfrm>
          <a:custGeom>
            <a:avLst/>
            <a:gdLst>
              <a:gd name="connsiteX0" fmla="*/ 23633 w 96293"/>
              <a:gd name="connsiteY0" fmla="*/ 356189 h 356188"/>
              <a:gd name="connsiteX1" fmla="*/ 23633 w 96293"/>
              <a:gd name="connsiteY1" fmla="*/ 0 h 356188"/>
              <a:gd name="connsiteX2" fmla="*/ 96294 w 96293"/>
              <a:gd name="connsiteY2" fmla="*/ 19478 h 356188"/>
              <a:gd name="connsiteX3" fmla="*/ 96294 w 96293"/>
              <a:gd name="connsiteY3" fmla="*/ 336711 h 356188"/>
              <a:gd name="connsiteX4" fmla="*/ 23633 w 96293"/>
              <a:gd name="connsiteY4" fmla="*/ 356189 h 356188"/>
              <a:gd name="connsiteX5" fmla="*/ 23633 w 96293"/>
              <a:gd name="connsiteY5" fmla="*/ 356189 h 356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6293" h="356188">
                <a:moveTo>
                  <a:pt x="23633" y="356189"/>
                </a:moveTo>
                <a:cubicBezTo>
                  <a:pt x="-8886" y="235088"/>
                  <a:pt x="-6853" y="112971"/>
                  <a:pt x="23633" y="0"/>
                </a:cubicBezTo>
                <a:lnTo>
                  <a:pt x="96294" y="19478"/>
                </a:lnTo>
                <a:cubicBezTo>
                  <a:pt x="69194" y="120085"/>
                  <a:pt x="67501" y="228821"/>
                  <a:pt x="96294" y="336711"/>
                </a:cubicBezTo>
                <a:lnTo>
                  <a:pt x="23633" y="356189"/>
                </a:lnTo>
                <a:lnTo>
                  <a:pt x="23633" y="356189"/>
                </a:lnTo>
                <a:close/>
              </a:path>
            </a:pathLst>
          </a:custGeom>
          <a:solidFill>
            <a:srgbClr val="002060"/>
          </a:solidFill>
          <a:ln w="169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FFE5A4DE-68CC-D5D8-5304-AADE1843418A}"/>
              </a:ext>
            </a:extLst>
          </p:cNvPr>
          <p:cNvSpPr/>
          <p:nvPr/>
        </p:nvSpPr>
        <p:spPr>
          <a:xfrm>
            <a:off x="1828666" y="3239675"/>
            <a:ext cx="327903" cy="231192"/>
          </a:xfrm>
          <a:custGeom>
            <a:avLst/>
            <a:gdLst>
              <a:gd name="connsiteX0" fmla="*/ 308426 w 327903"/>
              <a:gd name="connsiteY0" fmla="*/ 231192 h 231192"/>
              <a:gd name="connsiteX1" fmla="*/ 0 w 327903"/>
              <a:gd name="connsiteY1" fmla="*/ 53183 h 231192"/>
              <a:gd name="connsiteX2" fmla="*/ 53183 w 327903"/>
              <a:gd name="connsiteY2" fmla="*/ 0 h 231192"/>
              <a:gd name="connsiteX3" fmla="*/ 327903 w 327903"/>
              <a:gd name="connsiteY3" fmla="*/ 158532 h 231192"/>
              <a:gd name="connsiteX4" fmla="*/ 308426 w 327903"/>
              <a:gd name="connsiteY4" fmla="*/ 231192 h 231192"/>
              <a:gd name="connsiteX5" fmla="*/ 308426 w 327903"/>
              <a:gd name="connsiteY5" fmla="*/ 231192 h 231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7903" h="231192">
                <a:moveTo>
                  <a:pt x="308426" y="231192"/>
                </a:moveTo>
                <a:cubicBezTo>
                  <a:pt x="191898" y="199859"/>
                  <a:pt x="85363" y="138377"/>
                  <a:pt x="0" y="53183"/>
                </a:cubicBezTo>
                <a:lnTo>
                  <a:pt x="53183" y="0"/>
                </a:lnTo>
                <a:cubicBezTo>
                  <a:pt x="129231" y="75879"/>
                  <a:pt x="224248" y="130755"/>
                  <a:pt x="327903" y="158532"/>
                </a:cubicBezTo>
                <a:lnTo>
                  <a:pt x="308426" y="231192"/>
                </a:lnTo>
                <a:lnTo>
                  <a:pt x="308426" y="231192"/>
                </a:lnTo>
                <a:close/>
              </a:path>
            </a:pathLst>
          </a:custGeom>
          <a:solidFill>
            <a:srgbClr val="4285F4"/>
          </a:solidFill>
          <a:ln w="169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A96C2F53-F235-8752-B798-EE8849D0A827}"/>
              </a:ext>
            </a:extLst>
          </p:cNvPr>
          <p:cNvSpPr/>
          <p:nvPr/>
        </p:nvSpPr>
        <p:spPr>
          <a:xfrm>
            <a:off x="2473802" y="3239675"/>
            <a:ext cx="327903" cy="231192"/>
          </a:xfrm>
          <a:custGeom>
            <a:avLst/>
            <a:gdLst>
              <a:gd name="connsiteX0" fmla="*/ 327904 w 327903"/>
              <a:gd name="connsiteY0" fmla="*/ 53183 h 231192"/>
              <a:gd name="connsiteX1" fmla="*/ 19478 w 327903"/>
              <a:gd name="connsiteY1" fmla="*/ 231192 h 231192"/>
              <a:gd name="connsiteX2" fmla="*/ 0 w 327903"/>
              <a:gd name="connsiteY2" fmla="*/ 158532 h 231192"/>
              <a:gd name="connsiteX3" fmla="*/ 274721 w 327903"/>
              <a:gd name="connsiteY3" fmla="*/ 0 h 231192"/>
              <a:gd name="connsiteX4" fmla="*/ 327904 w 327903"/>
              <a:gd name="connsiteY4" fmla="*/ 53183 h 231192"/>
              <a:gd name="connsiteX5" fmla="*/ 327904 w 327903"/>
              <a:gd name="connsiteY5" fmla="*/ 53183 h 231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7903" h="231192">
                <a:moveTo>
                  <a:pt x="327904" y="53183"/>
                </a:moveTo>
                <a:cubicBezTo>
                  <a:pt x="245250" y="136006"/>
                  <a:pt x="140409" y="198842"/>
                  <a:pt x="19478" y="231192"/>
                </a:cubicBezTo>
                <a:lnTo>
                  <a:pt x="0" y="158532"/>
                </a:lnTo>
                <a:cubicBezTo>
                  <a:pt x="107890" y="129569"/>
                  <a:pt x="201214" y="73677"/>
                  <a:pt x="274721" y="0"/>
                </a:cubicBezTo>
                <a:lnTo>
                  <a:pt x="327904" y="53183"/>
                </a:lnTo>
                <a:lnTo>
                  <a:pt x="327904" y="53183"/>
                </a:lnTo>
                <a:close/>
              </a:path>
            </a:pathLst>
          </a:custGeom>
          <a:solidFill>
            <a:srgbClr val="FF9966"/>
          </a:solidFill>
          <a:ln w="169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5CFF7285-67BA-6DB0-1AE1-F1594524AB8B}"/>
              </a:ext>
            </a:extLst>
          </p:cNvPr>
          <p:cNvSpPr/>
          <p:nvPr/>
        </p:nvSpPr>
        <p:spPr>
          <a:xfrm>
            <a:off x="2907224" y="2628074"/>
            <a:ext cx="96293" cy="356188"/>
          </a:xfrm>
          <a:custGeom>
            <a:avLst/>
            <a:gdLst>
              <a:gd name="connsiteX0" fmla="*/ 72660 w 96293"/>
              <a:gd name="connsiteY0" fmla="*/ 0 h 356188"/>
              <a:gd name="connsiteX1" fmla="*/ 72660 w 96293"/>
              <a:gd name="connsiteY1" fmla="*/ 356189 h 356188"/>
              <a:gd name="connsiteX2" fmla="*/ 0 w 96293"/>
              <a:gd name="connsiteY2" fmla="*/ 336711 h 356188"/>
              <a:gd name="connsiteX3" fmla="*/ 0 w 96293"/>
              <a:gd name="connsiteY3" fmla="*/ 19478 h 356188"/>
              <a:gd name="connsiteX4" fmla="*/ 72660 w 96293"/>
              <a:gd name="connsiteY4" fmla="*/ 0 h 356188"/>
              <a:gd name="connsiteX5" fmla="*/ 72660 w 96293"/>
              <a:gd name="connsiteY5" fmla="*/ 0 h 356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6293" h="356188">
                <a:moveTo>
                  <a:pt x="72660" y="0"/>
                </a:moveTo>
                <a:cubicBezTo>
                  <a:pt x="105180" y="121101"/>
                  <a:pt x="103147" y="243218"/>
                  <a:pt x="72660" y="356189"/>
                </a:cubicBezTo>
                <a:lnTo>
                  <a:pt x="0" y="336711"/>
                </a:lnTo>
                <a:cubicBezTo>
                  <a:pt x="27099" y="236104"/>
                  <a:pt x="28793" y="127367"/>
                  <a:pt x="0" y="19478"/>
                </a:cubicBezTo>
                <a:lnTo>
                  <a:pt x="72660" y="0"/>
                </a:lnTo>
                <a:lnTo>
                  <a:pt x="72660" y="0"/>
                </a:lnTo>
                <a:close/>
              </a:path>
            </a:pathLst>
          </a:custGeom>
          <a:solidFill>
            <a:srgbClr val="002060"/>
          </a:solidFill>
          <a:ln w="169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169BBD6C-C5B8-E574-9B29-31697673970F}"/>
              </a:ext>
            </a:extLst>
          </p:cNvPr>
          <p:cNvSpPr/>
          <p:nvPr/>
        </p:nvSpPr>
        <p:spPr>
          <a:xfrm>
            <a:off x="2473802" y="2141639"/>
            <a:ext cx="327903" cy="231192"/>
          </a:xfrm>
          <a:custGeom>
            <a:avLst/>
            <a:gdLst>
              <a:gd name="connsiteX0" fmla="*/ 19478 w 327903"/>
              <a:gd name="connsiteY0" fmla="*/ 0 h 231192"/>
              <a:gd name="connsiteX1" fmla="*/ 327904 w 327903"/>
              <a:gd name="connsiteY1" fmla="*/ 178010 h 231192"/>
              <a:gd name="connsiteX2" fmla="*/ 274721 w 327903"/>
              <a:gd name="connsiteY2" fmla="*/ 231192 h 231192"/>
              <a:gd name="connsiteX3" fmla="*/ 0 w 327903"/>
              <a:gd name="connsiteY3" fmla="*/ 72660 h 231192"/>
              <a:gd name="connsiteX4" fmla="*/ 19478 w 327903"/>
              <a:gd name="connsiteY4" fmla="*/ 0 h 231192"/>
              <a:gd name="connsiteX5" fmla="*/ 19478 w 327903"/>
              <a:gd name="connsiteY5" fmla="*/ 0 h 231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7903" h="231192">
                <a:moveTo>
                  <a:pt x="19478" y="0"/>
                </a:moveTo>
                <a:cubicBezTo>
                  <a:pt x="136005" y="31334"/>
                  <a:pt x="242540" y="92816"/>
                  <a:pt x="327904" y="178010"/>
                </a:cubicBezTo>
                <a:lnTo>
                  <a:pt x="274721" y="231192"/>
                </a:lnTo>
                <a:cubicBezTo>
                  <a:pt x="198673" y="155314"/>
                  <a:pt x="103656" y="100437"/>
                  <a:pt x="0" y="72660"/>
                </a:cubicBezTo>
                <a:lnTo>
                  <a:pt x="19478" y="0"/>
                </a:lnTo>
                <a:lnTo>
                  <a:pt x="19478" y="0"/>
                </a:lnTo>
                <a:close/>
              </a:path>
            </a:pathLst>
          </a:custGeom>
          <a:solidFill>
            <a:srgbClr val="4285F4"/>
          </a:solidFill>
          <a:ln w="169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3B764B3F-BA6F-3400-72D3-8DAD26D2B41F}"/>
              </a:ext>
            </a:extLst>
          </p:cNvPr>
          <p:cNvSpPr/>
          <p:nvPr/>
        </p:nvSpPr>
        <p:spPr>
          <a:xfrm>
            <a:off x="1828666" y="2141639"/>
            <a:ext cx="327903" cy="231192"/>
          </a:xfrm>
          <a:custGeom>
            <a:avLst/>
            <a:gdLst>
              <a:gd name="connsiteX0" fmla="*/ 308426 w 327903"/>
              <a:gd name="connsiteY0" fmla="*/ 0 h 231192"/>
              <a:gd name="connsiteX1" fmla="*/ 327903 w 327903"/>
              <a:gd name="connsiteY1" fmla="*/ 72660 h 231192"/>
              <a:gd name="connsiteX2" fmla="*/ 53183 w 327903"/>
              <a:gd name="connsiteY2" fmla="*/ 231192 h 231192"/>
              <a:gd name="connsiteX3" fmla="*/ 0 w 327903"/>
              <a:gd name="connsiteY3" fmla="*/ 178010 h 231192"/>
              <a:gd name="connsiteX4" fmla="*/ 308426 w 327903"/>
              <a:gd name="connsiteY4" fmla="*/ 0 h 231192"/>
              <a:gd name="connsiteX5" fmla="*/ 308426 w 327903"/>
              <a:gd name="connsiteY5" fmla="*/ 0 h 231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7903" h="231192">
                <a:moveTo>
                  <a:pt x="308426" y="0"/>
                </a:moveTo>
                <a:lnTo>
                  <a:pt x="327903" y="72660"/>
                </a:lnTo>
                <a:cubicBezTo>
                  <a:pt x="220014" y="101623"/>
                  <a:pt x="126690" y="157516"/>
                  <a:pt x="53183" y="231192"/>
                </a:cubicBezTo>
                <a:lnTo>
                  <a:pt x="0" y="178010"/>
                </a:lnTo>
                <a:cubicBezTo>
                  <a:pt x="82653" y="95187"/>
                  <a:pt x="187494" y="32519"/>
                  <a:pt x="308426" y="0"/>
                </a:cubicBezTo>
                <a:lnTo>
                  <a:pt x="308426" y="0"/>
                </a:lnTo>
                <a:close/>
              </a:path>
            </a:pathLst>
          </a:custGeom>
          <a:solidFill>
            <a:srgbClr val="FF9966"/>
          </a:solidFill>
          <a:ln w="169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DFFAFDE9-6E18-2734-EE91-2CEDBE3E74B3}"/>
              </a:ext>
            </a:extLst>
          </p:cNvPr>
          <p:cNvSpPr/>
          <p:nvPr/>
        </p:nvSpPr>
        <p:spPr>
          <a:xfrm>
            <a:off x="1650656" y="2319648"/>
            <a:ext cx="231192" cy="327903"/>
          </a:xfrm>
          <a:custGeom>
            <a:avLst/>
            <a:gdLst>
              <a:gd name="connsiteX0" fmla="*/ 0 w 231192"/>
              <a:gd name="connsiteY0" fmla="*/ 308426 h 327903"/>
              <a:gd name="connsiteX1" fmla="*/ 178010 w 231192"/>
              <a:gd name="connsiteY1" fmla="*/ 0 h 327903"/>
              <a:gd name="connsiteX2" fmla="*/ 231192 w 231192"/>
              <a:gd name="connsiteY2" fmla="*/ 53183 h 327903"/>
              <a:gd name="connsiteX3" fmla="*/ 72660 w 231192"/>
              <a:gd name="connsiteY3" fmla="*/ 327903 h 327903"/>
              <a:gd name="connsiteX4" fmla="*/ 0 w 231192"/>
              <a:gd name="connsiteY4" fmla="*/ 308426 h 327903"/>
              <a:gd name="connsiteX5" fmla="*/ 0 w 231192"/>
              <a:gd name="connsiteY5" fmla="*/ 308426 h 327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1192" h="327903">
                <a:moveTo>
                  <a:pt x="0" y="308426"/>
                </a:moveTo>
                <a:cubicBezTo>
                  <a:pt x="31334" y="191898"/>
                  <a:pt x="92816" y="85363"/>
                  <a:pt x="178010" y="0"/>
                </a:cubicBezTo>
                <a:lnTo>
                  <a:pt x="231192" y="53183"/>
                </a:lnTo>
                <a:cubicBezTo>
                  <a:pt x="155314" y="129231"/>
                  <a:pt x="100437" y="224248"/>
                  <a:pt x="72660" y="327903"/>
                </a:cubicBezTo>
                <a:lnTo>
                  <a:pt x="0" y="308426"/>
                </a:lnTo>
                <a:lnTo>
                  <a:pt x="0" y="308426"/>
                </a:lnTo>
                <a:close/>
              </a:path>
            </a:pathLst>
          </a:custGeom>
          <a:solidFill>
            <a:srgbClr val="4285F4"/>
          </a:solidFill>
          <a:ln w="169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D8305F0C-815D-776B-6FB4-315E3F631924}"/>
              </a:ext>
            </a:extLst>
          </p:cNvPr>
          <p:cNvSpPr/>
          <p:nvPr/>
        </p:nvSpPr>
        <p:spPr>
          <a:xfrm>
            <a:off x="1650656" y="2964954"/>
            <a:ext cx="231192" cy="327903"/>
          </a:xfrm>
          <a:custGeom>
            <a:avLst/>
            <a:gdLst>
              <a:gd name="connsiteX0" fmla="*/ 178010 w 231192"/>
              <a:gd name="connsiteY0" fmla="*/ 327903 h 327903"/>
              <a:gd name="connsiteX1" fmla="*/ 0 w 231192"/>
              <a:gd name="connsiteY1" fmla="*/ 19478 h 327903"/>
              <a:gd name="connsiteX2" fmla="*/ 72660 w 231192"/>
              <a:gd name="connsiteY2" fmla="*/ 0 h 327903"/>
              <a:gd name="connsiteX3" fmla="*/ 231192 w 231192"/>
              <a:gd name="connsiteY3" fmla="*/ 274721 h 327903"/>
              <a:gd name="connsiteX4" fmla="*/ 178010 w 231192"/>
              <a:gd name="connsiteY4" fmla="*/ 327903 h 327903"/>
              <a:gd name="connsiteX5" fmla="*/ 178010 w 231192"/>
              <a:gd name="connsiteY5" fmla="*/ 327903 h 327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1192" h="327903">
                <a:moveTo>
                  <a:pt x="178010" y="327903"/>
                </a:moveTo>
                <a:cubicBezTo>
                  <a:pt x="95187" y="245250"/>
                  <a:pt x="32350" y="140409"/>
                  <a:pt x="0" y="19478"/>
                </a:cubicBezTo>
                <a:lnTo>
                  <a:pt x="72660" y="0"/>
                </a:lnTo>
                <a:cubicBezTo>
                  <a:pt x="101623" y="107890"/>
                  <a:pt x="157516" y="201213"/>
                  <a:pt x="231192" y="274721"/>
                </a:cubicBezTo>
                <a:lnTo>
                  <a:pt x="178010" y="327903"/>
                </a:lnTo>
                <a:lnTo>
                  <a:pt x="178010" y="327903"/>
                </a:lnTo>
                <a:close/>
              </a:path>
            </a:pathLst>
          </a:custGeom>
          <a:solidFill>
            <a:srgbClr val="FF9966"/>
          </a:solidFill>
          <a:ln w="169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DC853399-A27D-41CD-48C5-9E16D8BACA78}"/>
              </a:ext>
            </a:extLst>
          </p:cNvPr>
          <p:cNvSpPr/>
          <p:nvPr/>
        </p:nvSpPr>
        <p:spPr>
          <a:xfrm>
            <a:off x="2137092" y="3398207"/>
            <a:ext cx="356188" cy="96294"/>
          </a:xfrm>
          <a:custGeom>
            <a:avLst/>
            <a:gdLst>
              <a:gd name="connsiteX0" fmla="*/ 356188 w 356188"/>
              <a:gd name="connsiteY0" fmla="*/ 72660 h 96294"/>
              <a:gd name="connsiteX1" fmla="*/ 0 w 356188"/>
              <a:gd name="connsiteY1" fmla="*/ 72660 h 96294"/>
              <a:gd name="connsiteX2" fmla="*/ 19478 w 356188"/>
              <a:gd name="connsiteY2" fmla="*/ 0 h 96294"/>
              <a:gd name="connsiteX3" fmla="*/ 336711 w 356188"/>
              <a:gd name="connsiteY3" fmla="*/ 0 h 96294"/>
              <a:gd name="connsiteX4" fmla="*/ 356188 w 356188"/>
              <a:gd name="connsiteY4" fmla="*/ 72660 h 96294"/>
              <a:gd name="connsiteX5" fmla="*/ 356188 w 356188"/>
              <a:gd name="connsiteY5" fmla="*/ 72660 h 96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6188" h="96294">
                <a:moveTo>
                  <a:pt x="356188" y="72660"/>
                </a:moveTo>
                <a:cubicBezTo>
                  <a:pt x="235088" y="105180"/>
                  <a:pt x="112971" y="103147"/>
                  <a:pt x="0" y="72660"/>
                </a:cubicBezTo>
                <a:lnTo>
                  <a:pt x="19478" y="0"/>
                </a:lnTo>
                <a:cubicBezTo>
                  <a:pt x="120085" y="27099"/>
                  <a:pt x="228821" y="28793"/>
                  <a:pt x="336711" y="0"/>
                </a:cubicBezTo>
                <a:lnTo>
                  <a:pt x="356188" y="72660"/>
                </a:lnTo>
                <a:lnTo>
                  <a:pt x="356188" y="72660"/>
                </a:lnTo>
                <a:close/>
              </a:path>
            </a:pathLst>
          </a:custGeom>
          <a:solidFill>
            <a:srgbClr val="002060"/>
          </a:solidFill>
          <a:ln w="169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DECE8810-0E32-49B8-D35E-8BB4BB977831}"/>
              </a:ext>
            </a:extLst>
          </p:cNvPr>
          <p:cNvSpPr/>
          <p:nvPr/>
        </p:nvSpPr>
        <p:spPr>
          <a:xfrm>
            <a:off x="2748692" y="2964785"/>
            <a:ext cx="231192" cy="327903"/>
          </a:xfrm>
          <a:custGeom>
            <a:avLst/>
            <a:gdLst>
              <a:gd name="connsiteX0" fmla="*/ 231192 w 231192"/>
              <a:gd name="connsiteY0" fmla="*/ 19478 h 327903"/>
              <a:gd name="connsiteX1" fmla="*/ 53183 w 231192"/>
              <a:gd name="connsiteY1" fmla="*/ 327904 h 327903"/>
              <a:gd name="connsiteX2" fmla="*/ 0 w 231192"/>
              <a:gd name="connsiteY2" fmla="*/ 274721 h 327903"/>
              <a:gd name="connsiteX3" fmla="*/ 158532 w 231192"/>
              <a:gd name="connsiteY3" fmla="*/ 0 h 327903"/>
              <a:gd name="connsiteX4" fmla="*/ 231192 w 231192"/>
              <a:gd name="connsiteY4" fmla="*/ 19478 h 327903"/>
              <a:gd name="connsiteX5" fmla="*/ 231192 w 231192"/>
              <a:gd name="connsiteY5" fmla="*/ 19478 h 327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1192" h="327903">
                <a:moveTo>
                  <a:pt x="231192" y="19478"/>
                </a:moveTo>
                <a:cubicBezTo>
                  <a:pt x="199858" y="136005"/>
                  <a:pt x="138377" y="242540"/>
                  <a:pt x="53183" y="327904"/>
                </a:cubicBezTo>
                <a:lnTo>
                  <a:pt x="0" y="274721"/>
                </a:lnTo>
                <a:cubicBezTo>
                  <a:pt x="75879" y="198673"/>
                  <a:pt x="130755" y="103655"/>
                  <a:pt x="158532" y="0"/>
                </a:cubicBezTo>
                <a:lnTo>
                  <a:pt x="231192" y="19478"/>
                </a:lnTo>
                <a:lnTo>
                  <a:pt x="231192" y="19478"/>
                </a:lnTo>
                <a:close/>
              </a:path>
            </a:pathLst>
          </a:custGeom>
          <a:solidFill>
            <a:srgbClr val="4285F4"/>
          </a:solidFill>
          <a:ln w="169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03011660-267B-C446-FF05-2855CE11DA55}"/>
              </a:ext>
            </a:extLst>
          </p:cNvPr>
          <p:cNvSpPr/>
          <p:nvPr/>
        </p:nvSpPr>
        <p:spPr>
          <a:xfrm>
            <a:off x="2748523" y="2319648"/>
            <a:ext cx="231192" cy="327903"/>
          </a:xfrm>
          <a:custGeom>
            <a:avLst/>
            <a:gdLst>
              <a:gd name="connsiteX0" fmla="*/ 53183 w 231192"/>
              <a:gd name="connsiteY0" fmla="*/ 0 h 327903"/>
              <a:gd name="connsiteX1" fmla="*/ 231192 w 231192"/>
              <a:gd name="connsiteY1" fmla="*/ 308426 h 327903"/>
              <a:gd name="connsiteX2" fmla="*/ 158532 w 231192"/>
              <a:gd name="connsiteY2" fmla="*/ 327903 h 327903"/>
              <a:gd name="connsiteX3" fmla="*/ 0 w 231192"/>
              <a:gd name="connsiteY3" fmla="*/ 53183 h 327903"/>
              <a:gd name="connsiteX4" fmla="*/ 53183 w 231192"/>
              <a:gd name="connsiteY4" fmla="*/ 0 h 327903"/>
              <a:gd name="connsiteX5" fmla="*/ 53183 w 231192"/>
              <a:gd name="connsiteY5" fmla="*/ 0 h 327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1192" h="327903">
                <a:moveTo>
                  <a:pt x="53183" y="0"/>
                </a:moveTo>
                <a:cubicBezTo>
                  <a:pt x="136005" y="82653"/>
                  <a:pt x="198842" y="187494"/>
                  <a:pt x="231192" y="308426"/>
                </a:cubicBezTo>
                <a:lnTo>
                  <a:pt x="158532" y="327903"/>
                </a:lnTo>
                <a:cubicBezTo>
                  <a:pt x="129569" y="220014"/>
                  <a:pt x="73677" y="126690"/>
                  <a:pt x="0" y="53183"/>
                </a:cubicBezTo>
                <a:lnTo>
                  <a:pt x="53183" y="0"/>
                </a:lnTo>
                <a:lnTo>
                  <a:pt x="53183" y="0"/>
                </a:lnTo>
                <a:close/>
              </a:path>
            </a:pathLst>
          </a:custGeom>
          <a:solidFill>
            <a:srgbClr val="FF9966"/>
          </a:solidFill>
          <a:ln w="169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3B0FB1A0-4BBE-50E5-3955-EECA1062088C}"/>
              </a:ext>
            </a:extLst>
          </p:cNvPr>
          <p:cNvSpPr/>
          <p:nvPr/>
        </p:nvSpPr>
        <p:spPr>
          <a:xfrm>
            <a:off x="2137092" y="2118005"/>
            <a:ext cx="356188" cy="96293"/>
          </a:xfrm>
          <a:custGeom>
            <a:avLst/>
            <a:gdLst>
              <a:gd name="connsiteX0" fmla="*/ 0 w 356188"/>
              <a:gd name="connsiteY0" fmla="*/ 23633 h 96293"/>
              <a:gd name="connsiteX1" fmla="*/ 356188 w 356188"/>
              <a:gd name="connsiteY1" fmla="*/ 23633 h 96293"/>
              <a:gd name="connsiteX2" fmla="*/ 336711 w 356188"/>
              <a:gd name="connsiteY2" fmla="*/ 96294 h 96293"/>
              <a:gd name="connsiteX3" fmla="*/ 19478 w 356188"/>
              <a:gd name="connsiteY3" fmla="*/ 96294 h 96293"/>
              <a:gd name="connsiteX4" fmla="*/ 0 w 356188"/>
              <a:gd name="connsiteY4" fmla="*/ 23633 h 96293"/>
              <a:gd name="connsiteX5" fmla="*/ 0 w 356188"/>
              <a:gd name="connsiteY5" fmla="*/ 23633 h 96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6188" h="96293">
                <a:moveTo>
                  <a:pt x="0" y="23633"/>
                </a:moveTo>
                <a:cubicBezTo>
                  <a:pt x="121101" y="-8886"/>
                  <a:pt x="243218" y="-6853"/>
                  <a:pt x="356188" y="23633"/>
                </a:cubicBezTo>
                <a:lnTo>
                  <a:pt x="336711" y="96294"/>
                </a:lnTo>
                <a:cubicBezTo>
                  <a:pt x="236104" y="69194"/>
                  <a:pt x="127367" y="67501"/>
                  <a:pt x="19478" y="96294"/>
                </a:cubicBezTo>
                <a:lnTo>
                  <a:pt x="0" y="23633"/>
                </a:lnTo>
                <a:lnTo>
                  <a:pt x="0" y="23633"/>
                </a:lnTo>
                <a:close/>
              </a:path>
            </a:pathLst>
          </a:custGeom>
          <a:solidFill>
            <a:srgbClr val="002060"/>
          </a:solidFill>
          <a:ln w="169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B93D55E5-77F9-4FF9-DCDB-273775FD75F1}"/>
              </a:ext>
            </a:extLst>
          </p:cNvPr>
          <p:cNvSpPr/>
          <p:nvPr/>
        </p:nvSpPr>
        <p:spPr>
          <a:xfrm>
            <a:off x="1927677" y="1340005"/>
            <a:ext cx="763593" cy="2896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flammatory Cytokines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93AF0803-E29E-1892-5102-878F04A28BB7}"/>
              </a:ext>
            </a:extLst>
          </p:cNvPr>
          <p:cNvSpPr/>
          <p:nvPr/>
        </p:nvSpPr>
        <p:spPr>
          <a:xfrm>
            <a:off x="2810513" y="1601527"/>
            <a:ext cx="1028571" cy="2896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000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ceptor activation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BA657AEB-1955-0F97-4DEE-F718BDCA43D7}"/>
              </a:ext>
            </a:extLst>
          </p:cNvPr>
          <p:cNvSpPr/>
          <p:nvPr/>
        </p:nvSpPr>
        <p:spPr>
          <a:xfrm>
            <a:off x="3327943" y="2103445"/>
            <a:ext cx="967427" cy="2896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000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asogenic Edema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3A8CDF51-4737-A37C-5576-35B822893139}"/>
              </a:ext>
            </a:extLst>
          </p:cNvPr>
          <p:cNvSpPr/>
          <p:nvPr/>
        </p:nvSpPr>
        <p:spPr>
          <a:xfrm>
            <a:off x="3531777" y="2657260"/>
            <a:ext cx="900343" cy="2896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000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erebral Edema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950A7337-BFA8-01E0-4AE9-E36A64B5C5A6}"/>
              </a:ext>
            </a:extLst>
          </p:cNvPr>
          <p:cNvSpPr/>
          <p:nvPr/>
        </p:nvSpPr>
        <p:spPr>
          <a:xfrm>
            <a:off x="3349630" y="3219520"/>
            <a:ext cx="900343" cy="2896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000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ytotoxic Edema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14AF268F-BBC7-6ABF-03EC-5BB95C849548}"/>
              </a:ext>
            </a:extLst>
          </p:cNvPr>
          <p:cNvSpPr/>
          <p:nvPr/>
        </p:nvSpPr>
        <p:spPr>
          <a:xfrm>
            <a:off x="2953145" y="3690492"/>
            <a:ext cx="885936" cy="2896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000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duced GABA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1D223DCA-49C9-A542-8B96-A473E98EA856}"/>
              </a:ext>
            </a:extLst>
          </p:cNvPr>
          <p:cNvSpPr/>
          <p:nvPr/>
        </p:nvSpPr>
        <p:spPr>
          <a:xfrm>
            <a:off x="1931894" y="3890085"/>
            <a:ext cx="763593" cy="2896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citotoxic cascade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1BCFB5CE-8809-BF1D-6702-B3BFD5B095B5}"/>
              </a:ext>
            </a:extLst>
          </p:cNvPr>
          <p:cNvSpPr/>
          <p:nvPr/>
        </p:nvSpPr>
        <p:spPr>
          <a:xfrm>
            <a:off x="664683" y="3690492"/>
            <a:ext cx="1008327" cy="2896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en-US" sz="1000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ree radicals &amp; lipid peroxidation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93DC580A-3B4F-2A57-7528-A6FBE1C7091C}"/>
              </a:ext>
            </a:extLst>
          </p:cNvPr>
          <p:cNvSpPr/>
          <p:nvPr/>
        </p:nvSpPr>
        <p:spPr>
          <a:xfrm>
            <a:off x="510651" y="3221848"/>
            <a:ext cx="763593" cy="2896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en-US" sz="1000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tochondrial Uncoupling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E9873A89-A3F5-685D-345D-8AC6FA571533}"/>
              </a:ext>
            </a:extLst>
          </p:cNvPr>
          <p:cNvSpPr/>
          <p:nvPr/>
        </p:nvSpPr>
        <p:spPr>
          <a:xfrm>
            <a:off x="332218" y="2662451"/>
            <a:ext cx="763593" cy="2896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en-US" sz="1000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optosis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F7B8EB3F-9967-A1B1-CF44-ECDDF29695DD}"/>
              </a:ext>
            </a:extLst>
          </p:cNvPr>
          <p:cNvSpPr/>
          <p:nvPr/>
        </p:nvSpPr>
        <p:spPr>
          <a:xfrm>
            <a:off x="518721" y="2103445"/>
            <a:ext cx="763593" cy="2896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en-US" sz="1000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 Apoptotic cascade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5605B585-A340-B1EF-B9A4-160D16CD9257}"/>
              </a:ext>
            </a:extLst>
          </p:cNvPr>
          <p:cNvSpPr/>
          <p:nvPr/>
        </p:nvSpPr>
        <p:spPr>
          <a:xfrm>
            <a:off x="1025769" y="1601527"/>
            <a:ext cx="763593" cy="2896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myelination</a:t>
            </a:r>
          </a:p>
        </p:txBody>
      </p: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FC9E4D51-A44A-A81D-67FE-94C437A9CC91}"/>
              </a:ext>
            </a:extLst>
          </p:cNvPr>
          <p:cNvCxnSpPr>
            <a:cxnSpLocks/>
          </p:cNvCxnSpPr>
          <p:nvPr/>
        </p:nvCxnSpPr>
        <p:spPr>
          <a:xfrm>
            <a:off x="6252147" y="1943304"/>
            <a:ext cx="132279" cy="228821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7E3FCE47-13D7-ACEA-0BFB-5BA3C75D2770}"/>
              </a:ext>
            </a:extLst>
          </p:cNvPr>
          <p:cNvCxnSpPr>
            <a:cxnSpLocks/>
          </p:cNvCxnSpPr>
          <p:nvPr/>
        </p:nvCxnSpPr>
        <p:spPr>
          <a:xfrm>
            <a:off x="5795013" y="2244616"/>
            <a:ext cx="327734" cy="18935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9677749C-DDCC-7521-8C2B-1DC39E33C098}"/>
              </a:ext>
            </a:extLst>
          </p:cNvPr>
          <p:cNvCxnSpPr>
            <a:cxnSpLocks/>
          </p:cNvCxnSpPr>
          <p:nvPr/>
        </p:nvCxnSpPr>
        <p:spPr>
          <a:xfrm>
            <a:off x="5582113" y="2810148"/>
            <a:ext cx="43985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CBD8E659-ABD8-E519-9E2F-51F5956D6876}"/>
              </a:ext>
            </a:extLst>
          </p:cNvPr>
          <p:cNvCxnSpPr>
            <a:cxnSpLocks/>
          </p:cNvCxnSpPr>
          <p:nvPr/>
        </p:nvCxnSpPr>
        <p:spPr>
          <a:xfrm flipV="1">
            <a:off x="5789932" y="3167523"/>
            <a:ext cx="327734" cy="1891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D05AC248-35C0-0403-22E1-2B12825080ED}"/>
              </a:ext>
            </a:extLst>
          </p:cNvPr>
          <p:cNvCxnSpPr>
            <a:cxnSpLocks/>
          </p:cNvCxnSpPr>
          <p:nvPr/>
        </p:nvCxnSpPr>
        <p:spPr>
          <a:xfrm flipV="1">
            <a:off x="6195238" y="3443090"/>
            <a:ext cx="197995" cy="32265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BAC57AAD-DE8D-91C3-D7AC-21650F0F5CA8}"/>
              </a:ext>
            </a:extLst>
          </p:cNvPr>
          <p:cNvCxnSpPr>
            <a:cxnSpLocks/>
          </p:cNvCxnSpPr>
          <p:nvPr/>
        </p:nvCxnSpPr>
        <p:spPr>
          <a:xfrm flipV="1">
            <a:off x="6750607" y="3538785"/>
            <a:ext cx="0" cy="2776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CFB5C206-908D-6F81-B534-1E90201BB1CC}"/>
              </a:ext>
            </a:extLst>
          </p:cNvPr>
          <p:cNvCxnSpPr>
            <a:cxnSpLocks/>
          </p:cNvCxnSpPr>
          <p:nvPr/>
        </p:nvCxnSpPr>
        <p:spPr>
          <a:xfrm flipH="1" flipV="1">
            <a:off x="7118144" y="3443090"/>
            <a:ext cx="197995" cy="32265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CA3C7E4C-2481-FF1E-62C5-BE0688906AD6}"/>
              </a:ext>
            </a:extLst>
          </p:cNvPr>
          <p:cNvCxnSpPr>
            <a:cxnSpLocks/>
          </p:cNvCxnSpPr>
          <p:nvPr/>
        </p:nvCxnSpPr>
        <p:spPr>
          <a:xfrm flipH="1" flipV="1">
            <a:off x="7393711" y="3167523"/>
            <a:ext cx="322484" cy="19799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A3FF603E-6D74-2246-8EEC-F4D17825C3CF}"/>
              </a:ext>
            </a:extLst>
          </p:cNvPr>
          <p:cNvCxnSpPr>
            <a:cxnSpLocks/>
          </p:cNvCxnSpPr>
          <p:nvPr/>
        </p:nvCxnSpPr>
        <p:spPr>
          <a:xfrm flipH="1">
            <a:off x="7489237" y="2799986"/>
            <a:ext cx="437656" cy="1016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0D4EA1C5-4517-8B68-98B7-D8682FF8B59D}"/>
              </a:ext>
            </a:extLst>
          </p:cNvPr>
          <p:cNvCxnSpPr>
            <a:cxnSpLocks/>
          </p:cNvCxnSpPr>
          <p:nvPr/>
        </p:nvCxnSpPr>
        <p:spPr>
          <a:xfrm flipH="1">
            <a:off x="7388630" y="2253423"/>
            <a:ext cx="332646" cy="180381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BCA5F46A-CCB5-7DA1-F41C-231E9228D263}"/>
              </a:ext>
            </a:extLst>
          </p:cNvPr>
          <p:cNvCxnSpPr>
            <a:cxnSpLocks/>
          </p:cNvCxnSpPr>
          <p:nvPr/>
        </p:nvCxnSpPr>
        <p:spPr>
          <a:xfrm flipH="1">
            <a:off x="7118144" y="1937038"/>
            <a:ext cx="132787" cy="230007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7048F7FF-ABDC-6088-1628-E194926C8A7C}"/>
              </a:ext>
            </a:extLst>
          </p:cNvPr>
          <p:cNvCxnSpPr>
            <a:cxnSpLocks/>
          </p:cNvCxnSpPr>
          <p:nvPr/>
        </p:nvCxnSpPr>
        <p:spPr>
          <a:xfrm>
            <a:off x="6750607" y="1725662"/>
            <a:ext cx="0" cy="3456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Freeform: Shape 126">
            <a:extLst>
              <a:ext uri="{FF2B5EF4-FFF2-40B4-BE49-F238E27FC236}">
                <a16:creationId xmlns:a16="http://schemas.microsoft.com/office/drawing/2014/main" id="{9F4C8B69-A16E-C326-9892-93F9A1BE268B}"/>
              </a:ext>
            </a:extLst>
          </p:cNvPr>
          <p:cNvSpPr/>
          <p:nvPr/>
        </p:nvSpPr>
        <p:spPr>
          <a:xfrm>
            <a:off x="6233688" y="2284253"/>
            <a:ext cx="1044000" cy="1044000"/>
          </a:xfrm>
          <a:custGeom>
            <a:avLst/>
            <a:gdLst>
              <a:gd name="connsiteX0" fmla="*/ 906477 w 906476"/>
              <a:gd name="connsiteY0" fmla="*/ 453239 h 906476"/>
              <a:gd name="connsiteX1" fmla="*/ 453238 w 906476"/>
              <a:gd name="connsiteY1" fmla="*/ 906477 h 906476"/>
              <a:gd name="connsiteX2" fmla="*/ 0 w 906476"/>
              <a:gd name="connsiteY2" fmla="*/ 453239 h 906476"/>
              <a:gd name="connsiteX3" fmla="*/ 453238 w 906476"/>
              <a:gd name="connsiteY3" fmla="*/ 0 h 906476"/>
              <a:gd name="connsiteX4" fmla="*/ 906477 w 906476"/>
              <a:gd name="connsiteY4" fmla="*/ 453239 h 906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6476" h="906476">
                <a:moveTo>
                  <a:pt x="906477" y="453239"/>
                </a:moveTo>
                <a:cubicBezTo>
                  <a:pt x="906477" y="703555"/>
                  <a:pt x="703555" y="906477"/>
                  <a:pt x="453238" y="906477"/>
                </a:cubicBezTo>
                <a:cubicBezTo>
                  <a:pt x="202922" y="906477"/>
                  <a:pt x="0" y="703555"/>
                  <a:pt x="0" y="453239"/>
                </a:cubicBezTo>
                <a:cubicBezTo>
                  <a:pt x="0" y="202922"/>
                  <a:pt x="202922" y="0"/>
                  <a:pt x="453238" y="0"/>
                </a:cubicBezTo>
                <a:cubicBezTo>
                  <a:pt x="703555" y="0"/>
                  <a:pt x="906477" y="202922"/>
                  <a:pt x="906477" y="453239"/>
                </a:cubicBezTo>
                <a:close/>
              </a:path>
            </a:pathLst>
          </a:custGeom>
          <a:solidFill>
            <a:srgbClr val="FFFFFF"/>
          </a:solidFill>
          <a:ln w="1694" cap="flat">
            <a:noFill/>
            <a:prstDash val="solid"/>
            <a:miter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/>
            <a:r>
              <a:rPr lang="en-US" sz="12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uro-steroid</a:t>
            </a:r>
          </a:p>
        </p:txBody>
      </p: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0BA66DD1-E7EC-59E9-8D99-4530E98A58A8}"/>
              </a:ext>
            </a:extLst>
          </p:cNvPr>
          <p:cNvGrpSpPr/>
          <p:nvPr/>
        </p:nvGrpSpPr>
        <p:grpSpPr>
          <a:xfrm>
            <a:off x="6067441" y="2118005"/>
            <a:ext cx="1376494" cy="1376496"/>
            <a:chOff x="6067441" y="2118005"/>
            <a:chExt cx="1376494" cy="1376496"/>
          </a:xfrm>
        </p:grpSpPr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33DA03B4-5538-E6D2-FA8E-22382289FD80}"/>
                </a:ext>
              </a:extLst>
            </p:cNvPr>
            <p:cNvSpPr/>
            <p:nvPr/>
          </p:nvSpPr>
          <p:spPr>
            <a:xfrm>
              <a:off x="6067441" y="2628074"/>
              <a:ext cx="96293" cy="356188"/>
            </a:xfrm>
            <a:custGeom>
              <a:avLst/>
              <a:gdLst>
                <a:gd name="connsiteX0" fmla="*/ 23633 w 96293"/>
                <a:gd name="connsiteY0" fmla="*/ 356189 h 356188"/>
                <a:gd name="connsiteX1" fmla="*/ 23633 w 96293"/>
                <a:gd name="connsiteY1" fmla="*/ 0 h 356188"/>
                <a:gd name="connsiteX2" fmla="*/ 96294 w 96293"/>
                <a:gd name="connsiteY2" fmla="*/ 19478 h 356188"/>
                <a:gd name="connsiteX3" fmla="*/ 96294 w 96293"/>
                <a:gd name="connsiteY3" fmla="*/ 336711 h 356188"/>
                <a:gd name="connsiteX4" fmla="*/ 23633 w 96293"/>
                <a:gd name="connsiteY4" fmla="*/ 356189 h 356188"/>
                <a:gd name="connsiteX5" fmla="*/ 23633 w 96293"/>
                <a:gd name="connsiteY5" fmla="*/ 356189 h 356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6293" h="356188">
                  <a:moveTo>
                    <a:pt x="23633" y="356189"/>
                  </a:moveTo>
                  <a:cubicBezTo>
                    <a:pt x="-8886" y="235088"/>
                    <a:pt x="-6853" y="112971"/>
                    <a:pt x="23633" y="0"/>
                  </a:cubicBezTo>
                  <a:lnTo>
                    <a:pt x="96294" y="19478"/>
                  </a:lnTo>
                  <a:cubicBezTo>
                    <a:pt x="69194" y="120085"/>
                    <a:pt x="67501" y="228821"/>
                    <a:pt x="96294" y="336711"/>
                  </a:cubicBezTo>
                  <a:lnTo>
                    <a:pt x="23633" y="356189"/>
                  </a:lnTo>
                  <a:lnTo>
                    <a:pt x="23633" y="356189"/>
                  </a:lnTo>
                  <a:close/>
                </a:path>
              </a:pathLst>
            </a:custGeom>
            <a:solidFill>
              <a:srgbClr val="002060"/>
            </a:solidFill>
            <a:ln w="16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B1783A7C-D2DE-F8A5-FCC4-B39DA086F5FD}"/>
                </a:ext>
              </a:extLst>
            </p:cNvPr>
            <p:cNvSpPr/>
            <p:nvPr/>
          </p:nvSpPr>
          <p:spPr>
            <a:xfrm>
              <a:off x="6269084" y="3239675"/>
              <a:ext cx="327903" cy="231192"/>
            </a:xfrm>
            <a:custGeom>
              <a:avLst/>
              <a:gdLst>
                <a:gd name="connsiteX0" fmla="*/ 308426 w 327903"/>
                <a:gd name="connsiteY0" fmla="*/ 231192 h 231192"/>
                <a:gd name="connsiteX1" fmla="*/ 0 w 327903"/>
                <a:gd name="connsiteY1" fmla="*/ 53183 h 231192"/>
                <a:gd name="connsiteX2" fmla="*/ 53183 w 327903"/>
                <a:gd name="connsiteY2" fmla="*/ 0 h 231192"/>
                <a:gd name="connsiteX3" fmla="*/ 327903 w 327903"/>
                <a:gd name="connsiteY3" fmla="*/ 158532 h 231192"/>
                <a:gd name="connsiteX4" fmla="*/ 308426 w 327903"/>
                <a:gd name="connsiteY4" fmla="*/ 231192 h 231192"/>
                <a:gd name="connsiteX5" fmla="*/ 308426 w 327903"/>
                <a:gd name="connsiteY5" fmla="*/ 231192 h 23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7903" h="231192">
                  <a:moveTo>
                    <a:pt x="308426" y="231192"/>
                  </a:moveTo>
                  <a:cubicBezTo>
                    <a:pt x="191898" y="199859"/>
                    <a:pt x="85363" y="138377"/>
                    <a:pt x="0" y="53183"/>
                  </a:cubicBezTo>
                  <a:lnTo>
                    <a:pt x="53183" y="0"/>
                  </a:lnTo>
                  <a:cubicBezTo>
                    <a:pt x="129231" y="75879"/>
                    <a:pt x="224248" y="130755"/>
                    <a:pt x="327903" y="158532"/>
                  </a:cubicBezTo>
                  <a:lnTo>
                    <a:pt x="308426" y="231192"/>
                  </a:lnTo>
                  <a:lnTo>
                    <a:pt x="308426" y="231192"/>
                  </a:lnTo>
                  <a:close/>
                </a:path>
              </a:pathLst>
            </a:custGeom>
            <a:solidFill>
              <a:srgbClr val="4285F4"/>
            </a:solidFill>
            <a:ln w="16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3120CFDD-55F2-F5E0-7C95-A4929BC5BC73}"/>
                </a:ext>
              </a:extLst>
            </p:cNvPr>
            <p:cNvSpPr/>
            <p:nvPr/>
          </p:nvSpPr>
          <p:spPr>
            <a:xfrm>
              <a:off x="6914220" y="3239675"/>
              <a:ext cx="327903" cy="231192"/>
            </a:xfrm>
            <a:custGeom>
              <a:avLst/>
              <a:gdLst>
                <a:gd name="connsiteX0" fmla="*/ 327904 w 327903"/>
                <a:gd name="connsiteY0" fmla="*/ 53183 h 231192"/>
                <a:gd name="connsiteX1" fmla="*/ 19478 w 327903"/>
                <a:gd name="connsiteY1" fmla="*/ 231192 h 231192"/>
                <a:gd name="connsiteX2" fmla="*/ 0 w 327903"/>
                <a:gd name="connsiteY2" fmla="*/ 158532 h 231192"/>
                <a:gd name="connsiteX3" fmla="*/ 274721 w 327903"/>
                <a:gd name="connsiteY3" fmla="*/ 0 h 231192"/>
                <a:gd name="connsiteX4" fmla="*/ 327904 w 327903"/>
                <a:gd name="connsiteY4" fmla="*/ 53183 h 231192"/>
                <a:gd name="connsiteX5" fmla="*/ 327904 w 327903"/>
                <a:gd name="connsiteY5" fmla="*/ 53183 h 23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7903" h="231192">
                  <a:moveTo>
                    <a:pt x="327904" y="53183"/>
                  </a:moveTo>
                  <a:cubicBezTo>
                    <a:pt x="245250" y="136006"/>
                    <a:pt x="140409" y="198842"/>
                    <a:pt x="19478" y="231192"/>
                  </a:cubicBezTo>
                  <a:lnTo>
                    <a:pt x="0" y="158532"/>
                  </a:lnTo>
                  <a:cubicBezTo>
                    <a:pt x="107890" y="129569"/>
                    <a:pt x="201214" y="73677"/>
                    <a:pt x="274721" y="0"/>
                  </a:cubicBezTo>
                  <a:lnTo>
                    <a:pt x="327904" y="53183"/>
                  </a:lnTo>
                  <a:lnTo>
                    <a:pt x="327904" y="53183"/>
                  </a:lnTo>
                  <a:close/>
                </a:path>
              </a:pathLst>
            </a:custGeom>
            <a:solidFill>
              <a:srgbClr val="FF9966"/>
            </a:solidFill>
            <a:ln w="16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0CEBF145-5A27-761C-A4AC-3687C76233D8}"/>
                </a:ext>
              </a:extLst>
            </p:cNvPr>
            <p:cNvSpPr/>
            <p:nvPr/>
          </p:nvSpPr>
          <p:spPr>
            <a:xfrm>
              <a:off x="7347642" y="2628074"/>
              <a:ext cx="96293" cy="356188"/>
            </a:xfrm>
            <a:custGeom>
              <a:avLst/>
              <a:gdLst>
                <a:gd name="connsiteX0" fmla="*/ 72660 w 96293"/>
                <a:gd name="connsiteY0" fmla="*/ 0 h 356188"/>
                <a:gd name="connsiteX1" fmla="*/ 72660 w 96293"/>
                <a:gd name="connsiteY1" fmla="*/ 356189 h 356188"/>
                <a:gd name="connsiteX2" fmla="*/ 0 w 96293"/>
                <a:gd name="connsiteY2" fmla="*/ 336711 h 356188"/>
                <a:gd name="connsiteX3" fmla="*/ 0 w 96293"/>
                <a:gd name="connsiteY3" fmla="*/ 19478 h 356188"/>
                <a:gd name="connsiteX4" fmla="*/ 72660 w 96293"/>
                <a:gd name="connsiteY4" fmla="*/ 0 h 356188"/>
                <a:gd name="connsiteX5" fmla="*/ 72660 w 96293"/>
                <a:gd name="connsiteY5" fmla="*/ 0 h 356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6293" h="356188">
                  <a:moveTo>
                    <a:pt x="72660" y="0"/>
                  </a:moveTo>
                  <a:cubicBezTo>
                    <a:pt x="105180" y="121101"/>
                    <a:pt x="103147" y="243218"/>
                    <a:pt x="72660" y="356189"/>
                  </a:cubicBezTo>
                  <a:lnTo>
                    <a:pt x="0" y="336711"/>
                  </a:lnTo>
                  <a:cubicBezTo>
                    <a:pt x="27099" y="236104"/>
                    <a:pt x="28793" y="127367"/>
                    <a:pt x="0" y="19478"/>
                  </a:cubicBezTo>
                  <a:lnTo>
                    <a:pt x="72660" y="0"/>
                  </a:lnTo>
                  <a:lnTo>
                    <a:pt x="72660" y="0"/>
                  </a:lnTo>
                  <a:close/>
                </a:path>
              </a:pathLst>
            </a:custGeom>
            <a:solidFill>
              <a:srgbClr val="002060"/>
            </a:solidFill>
            <a:ln w="16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98E64F2C-1610-2430-4A67-28B59EDED6EB}"/>
                </a:ext>
              </a:extLst>
            </p:cNvPr>
            <p:cNvSpPr/>
            <p:nvPr/>
          </p:nvSpPr>
          <p:spPr>
            <a:xfrm>
              <a:off x="6914220" y="2141639"/>
              <a:ext cx="327903" cy="231192"/>
            </a:xfrm>
            <a:custGeom>
              <a:avLst/>
              <a:gdLst>
                <a:gd name="connsiteX0" fmla="*/ 19478 w 327903"/>
                <a:gd name="connsiteY0" fmla="*/ 0 h 231192"/>
                <a:gd name="connsiteX1" fmla="*/ 327904 w 327903"/>
                <a:gd name="connsiteY1" fmla="*/ 178010 h 231192"/>
                <a:gd name="connsiteX2" fmla="*/ 274721 w 327903"/>
                <a:gd name="connsiteY2" fmla="*/ 231192 h 231192"/>
                <a:gd name="connsiteX3" fmla="*/ 0 w 327903"/>
                <a:gd name="connsiteY3" fmla="*/ 72660 h 231192"/>
                <a:gd name="connsiteX4" fmla="*/ 19478 w 327903"/>
                <a:gd name="connsiteY4" fmla="*/ 0 h 231192"/>
                <a:gd name="connsiteX5" fmla="*/ 19478 w 327903"/>
                <a:gd name="connsiteY5" fmla="*/ 0 h 23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7903" h="231192">
                  <a:moveTo>
                    <a:pt x="19478" y="0"/>
                  </a:moveTo>
                  <a:cubicBezTo>
                    <a:pt x="136005" y="31334"/>
                    <a:pt x="242540" y="92816"/>
                    <a:pt x="327904" y="178010"/>
                  </a:cubicBezTo>
                  <a:lnTo>
                    <a:pt x="274721" y="231192"/>
                  </a:lnTo>
                  <a:cubicBezTo>
                    <a:pt x="198673" y="155314"/>
                    <a:pt x="103656" y="100437"/>
                    <a:pt x="0" y="72660"/>
                  </a:cubicBezTo>
                  <a:lnTo>
                    <a:pt x="19478" y="0"/>
                  </a:lnTo>
                  <a:lnTo>
                    <a:pt x="19478" y="0"/>
                  </a:lnTo>
                  <a:close/>
                </a:path>
              </a:pathLst>
            </a:custGeom>
            <a:solidFill>
              <a:srgbClr val="4285F4"/>
            </a:solidFill>
            <a:ln w="16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EF0C7F77-127D-EB2D-228D-F66A8795EC19}"/>
                </a:ext>
              </a:extLst>
            </p:cNvPr>
            <p:cNvSpPr/>
            <p:nvPr/>
          </p:nvSpPr>
          <p:spPr>
            <a:xfrm>
              <a:off x="6269084" y="2141639"/>
              <a:ext cx="327903" cy="231192"/>
            </a:xfrm>
            <a:custGeom>
              <a:avLst/>
              <a:gdLst>
                <a:gd name="connsiteX0" fmla="*/ 308426 w 327903"/>
                <a:gd name="connsiteY0" fmla="*/ 0 h 231192"/>
                <a:gd name="connsiteX1" fmla="*/ 327903 w 327903"/>
                <a:gd name="connsiteY1" fmla="*/ 72660 h 231192"/>
                <a:gd name="connsiteX2" fmla="*/ 53183 w 327903"/>
                <a:gd name="connsiteY2" fmla="*/ 231192 h 231192"/>
                <a:gd name="connsiteX3" fmla="*/ 0 w 327903"/>
                <a:gd name="connsiteY3" fmla="*/ 178010 h 231192"/>
                <a:gd name="connsiteX4" fmla="*/ 308426 w 327903"/>
                <a:gd name="connsiteY4" fmla="*/ 0 h 231192"/>
                <a:gd name="connsiteX5" fmla="*/ 308426 w 327903"/>
                <a:gd name="connsiteY5" fmla="*/ 0 h 231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7903" h="231192">
                  <a:moveTo>
                    <a:pt x="308426" y="0"/>
                  </a:moveTo>
                  <a:lnTo>
                    <a:pt x="327903" y="72660"/>
                  </a:lnTo>
                  <a:cubicBezTo>
                    <a:pt x="220014" y="101623"/>
                    <a:pt x="126690" y="157516"/>
                    <a:pt x="53183" y="231192"/>
                  </a:cubicBezTo>
                  <a:lnTo>
                    <a:pt x="0" y="178010"/>
                  </a:lnTo>
                  <a:cubicBezTo>
                    <a:pt x="82653" y="95187"/>
                    <a:pt x="187494" y="32519"/>
                    <a:pt x="308426" y="0"/>
                  </a:cubicBezTo>
                  <a:lnTo>
                    <a:pt x="308426" y="0"/>
                  </a:lnTo>
                  <a:close/>
                </a:path>
              </a:pathLst>
            </a:custGeom>
            <a:solidFill>
              <a:srgbClr val="FF9966"/>
            </a:solidFill>
            <a:ln w="16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27BACB7D-D8B0-4BCC-6D40-A77F87D9F5D6}"/>
                </a:ext>
              </a:extLst>
            </p:cNvPr>
            <p:cNvSpPr/>
            <p:nvPr/>
          </p:nvSpPr>
          <p:spPr>
            <a:xfrm>
              <a:off x="6091074" y="2319648"/>
              <a:ext cx="231192" cy="327903"/>
            </a:xfrm>
            <a:custGeom>
              <a:avLst/>
              <a:gdLst>
                <a:gd name="connsiteX0" fmla="*/ 0 w 231192"/>
                <a:gd name="connsiteY0" fmla="*/ 308426 h 327903"/>
                <a:gd name="connsiteX1" fmla="*/ 178010 w 231192"/>
                <a:gd name="connsiteY1" fmla="*/ 0 h 327903"/>
                <a:gd name="connsiteX2" fmla="*/ 231192 w 231192"/>
                <a:gd name="connsiteY2" fmla="*/ 53183 h 327903"/>
                <a:gd name="connsiteX3" fmla="*/ 72660 w 231192"/>
                <a:gd name="connsiteY3" fmla="*/ 327903 h 327903"/>
                <a:gd name="connsiteX4" fmla="*/ 0 w 231192"/>
                <a:gd name="connsiteY4" fmla="*/ 308426 h 327903"/>
                <a:gd name="connsiteX5" fmla="*/ 0 w 231192"/>
                <a:gd name="connsiteY5" fmla="*/ 308426 h 327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1192" h="327903">
                  <a:moveTo>
                    <a:pt x="0" y="308426"/>
                  </a:moveTo>
                  <a:cubicBezTo>
                    <a:pt x="31334" y="191898"/>
                    <a:pt x="92816" y="85363"/>
                    <a:pt x="178010" y="0"/>
                  </a:cubicBezTo>
                  <a:lnTo>
                    <a:pt x="231192" y="53183"/>
                  </a:lnTo>
                  <a:cubicBezTo>
                    <a:pt x="155314" y="129231"/>
                    <a:pt x="100437" y="224248"/>
                    <a:pt x="72660" y="327903"/>
                  </a:cubicBezTo>
                  <a:lnTo>
                    <a:pt x="0" y="308426"/>
                  </a:lnTo>
                  <a:lnTo>
                    <a:pt x="0" y="308426"/>
                  </a:lnTo>
                  <a:close/>
                </a:path>
              </a:pathLst>
            </a:custGeom>
            <a:solidFill>
              <a:srgbClr val="4285F4"/>
            </a:solidFill>
            <a:ln w="16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BB079C39-C165-3E6F-606C-E03474ABF594}"/>
                </a:ext>
              </a:extLst>
            </p:cNvPr>
            <p:cNvSpPr/>
            <p:nvPr/>
          </p:nvSpPr>
          <p:spPr>
            <a:xfrm>
              <a:off x="6091074" y="2964954"/>
              <a:ext cx="231192" cy="327903"/>
            </a:xfrm>
            <a:custGeom>
              <a:avLst/>
              <a:gdLst>
                <a:gd name="connsiteX0" fmla="*/ 178010 w 231192"/>
                <a:gd name="connsiteY0" fmla="*/ 327903 h 327903"/>
                <a:gd name="connsiteX1" fmla="*/ 0 w 231192"/>
                <a:gd name="connsiteY1" fmla="*/ 19478 h 327903"/>
                <a:gd name="connsiteX2" fmla="*/ 72660 w 231192"/>
                <a:gd name="connsiteY2" fmla="*/ 0 h 327903"/>
                <a:gd name="connsiteX3" fmla="*/ 231192 w 231192"/>
                <a:gd name="connsiteY3" fmla="*/ 274721 h 327903"/>
                <a:gd name="connsiteX4" fmla="*/ 178010 w 231192"/>
                <a:gd name="connsiteY4" fmla="*/ 327903 h 327903"/>
                <a:gd name="connsiteX5" fmla="*/ 178010 w 231192"/>
                <a:gd name="connsiteY5" fmla="*/ 327903 h 327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1192" h="327903">
                  <a:moveTo>
                    <a:pt x="178010" y="327903"/>
                  </a:moveTo>
                  <a:cubicBezTo>
                    <a:pt x="95187" y="245250"/>
                    <a:pt x="32350" y="140409"/>
                    <a:pt x="0" y="19478"/>
                  </a:cubicBezTo>
                  <a:lnTo>
                    <a:pt x="72660" y="0"/>
                  </a:lnTo>
                  <a:cubicBezTo>
                    <a:pt x="101623" y="107890"/>
                    <a:pt x="157516" y="201213"/>
                    <a:pt x="231192" y="274721"/>
                  </a:cubicBezTo>
                  <a:lnTo>
                    <a:pt x="178010" y="327903"/>
                  </a:lnTo>
                  <a:lnTo>
                    <a:pt x="178010" y="327903"/>
                  </a:lnTo>
                  <a:close/>
                </a:path>
              </a:pathLst>
            </a:custGeom>
            <a:solidFill>
              <a:srgbClr val="FF9966"/>
            </a:solidFill>
            <a:ln w="16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65A66F91-FF84-5AF6-4220-1FD939A52D02}"/>
                </a:ext>
              </a:extLst>
            </p:cNvPr>
            <p:cNvSpPr/>
            <p:nvPr/>
          </p:nvSpPr>
          <p:spPr>
            <a:xfrm>
              <a:off x="6577510" y="3398207"/>
              <a:ext cx="356188" cy="96294"/>
            </a:xfrm>
            <a:custGeom>
              <a:avLst/>
              <a:gdLst>
                <a:gd name="connsiteX0" fmla="*/ 356188 w 356188"/>
                <a:gd name="connsiteY0" fmla="*/ 72660 h 96294"/>
                <a:gd name="connsiteX1" fmla="*/ 0 w 356188"/>
                <a:gd name="connsiteY1" fmla="*/ 72660 h 96294"/>
                <a:gd name="connsiteX2" fmla="*/ 19478 w 356188"/>
                <a:gd name="connsiteY2" fmla="*/ 0 h 96294"/>
                <a:gd name="connsiteX3" fmla="*/ 336711 w 356188"/>
                <a:gd name="connsiteY3" fmla="*/ 0 h 96294"/>
                <a:gd name="connsiteX4" fmla="*/ 356188 w 356188"/>
                <a:gd name="connsiteY4" fmla="*/ 72660 h 96294"/>
                <a:gd name="connsiteX5" fmla="*/ 356188 w 356188"/>
                <a:gd name="connsiteY5" fmla="*/ 72660 h 96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6188" h="96294">
                  <a:moveTo>
                    <a:pt x="356188" y="72660"/>
                  </a:moveTo>
                  <a:cubicBezTo>
                    <a:pt x="235088" y="105180"/>
                    <a:pt x="112971" y="103147"/>
                    <a:pt x="0" y="72660"/>
                  </a:cubicBezTo>
                  <a:lnTo>
                    <a:pt x="19478" y="0"/>
                  </a:lnTo>
                  <a:cubicBezTo>
                    <a:pt x="120085" y="27099"/>
                    <a:pt x="228821" y="28793"/>
                    <a:pt x="336711" y="0"/>
                  </a:cubicBezTo>
                  <a:lnTo>
                    <a:pt x="356188" y="72660"/>
                  </a:lnTo>
                  <a:lnTo>
                    <a:pt x="356188" y="72660"/>
                  </a:lnTo>
                  <a:close/>
                </a:path>
              </a:pathLst>
            </a:custGeom>
            <a:solidFill>
              <a:srgbClr val="002060"/>
            </a:solidFill>
            <a:ln w="16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A09553E8-D661-E19B-4D05-564EB78CB876}"/>
                </a:ext>
              </a:extLst>
            </p:cNvPr>
            <p:cNvSpPr/>
            <p:nvPr/>
          </p:nvSpPr>
          <p:spPr>
            <a:xfrm>
              <a:off x="7189110" y="2964785"/>
              <a:ext cx="231192" cy="327903"/>
            </a:xfrm>
            <a:custGeom>
              <a:avLst/>
              <a:gdLst>
                <a:gd name="connsiteX0" fmla="*/ 231192 w 231192"/>
                <a:gd name="connsiteY0" fmla="*/ 19478 h 327903"/>
                <a:gd name="connsiteX1" fmla="*/ 53183 w 231192"/>
                <a:gd name="connsiteY1" fmla="*/ 327904 h 327903"/>
                <a:gd name="connsiteX2" fmla="*/ 0 w 231192"/>
                <a:gd name="connsiteY2" fmla="*/ 274721 h 327903"/>
                <a:gd name="connsiteX3" fmla="*/ 158532 w 231192"/>
                <a:gd name="connsiteY3" fmla="*/ 0 h 327903"/>
                <a:gd name="connsiteX4" fmla="*/ 231192 w 231192"/>
                <a:gd name="connsiteY4" fmla="*/ 19478 h 327903"/>
                <a:gd name="connsiteX5" fmla="*/ 231192 w 231192"/>
                <a:gd name="connsiteY5" fmla="*/ 19478 h 327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1192" h="327903">
                  <a:moveTo>
                    <a:pt x="231192" y="19478"/>
                  </a:moveTo>
                  <a:cubicBezTo>
                    <a:pt x="199858" y="136005"/>
                    <a:pt x="138377" y="242540"/>
                    <a:pt x="53183" y="327904"/>
                  </a:cubicBezTo>
                  <a:lnTo>
                    <a:pt x="0" y="274721"/>
                  </a:lnTo>
                  <a:cubicBezTo>
                    <a:pt x="75879" y="198673"/>
                    <a:pt x="130755" y="103655"/>
                    <a:pt x="158532" y="0"/>
                  </a:cubicBezTo>
                  <a:lnTo>
                    <a:pt x="231192" y="19478"/>
                  </a:lnTo>
                  <a:lnTo>
                    <a:pt x="231192" y="19478"/>
                  </a:lnTo>
                  <a:close/>
                </a:path>
              </a:pathLst>
            </a:custGeom>
            <a:solidFill>
              <a:srgbClr val="4285F4"/>
            </a:solidFill>
            <a:ln w="16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5D3A3F1C-6F49-9358-90DC-498A5626E89E}"/>
                </a:ext>
              </a:extLst>
            </p:cNvPr>
            <p:cNvSpPr/>
            <p:nvPr/>
          </p:nvSpPr>
          <p:spPr>
            <a:xfrm>
              <a:off x="7188941" y="2319648"/>
              <a:ext cx="231192" cy="327903"/>
            </a:xfrm>
            <a:custGeom>
              <a:avLst/>
              <a:gdLst>
                <a:gd name="connsiteX0" fmla="*/ 53183 w 231192"/>
                <a:gd name="connsiteY0" fmla="*/ 0 h 327903"/>
                <a:gd name="connsiteX1" fmla="*/ 231192 w 231192"/>
                <a:gd name="connsiteY1" fmla="*/ 308426 h 327903"/>
                <a:gd name="connsiteX2" fmla="*/ 158532 w 231192"/>
                <a:gd name="connsiteY2" fmla="*/ 327903 h 327903"/>
                <a:gd name="connsiteX3" fmla="*/ 0 w 231192"/>
                <a:gd name="connsiteY3" fmla="*/ 53183 h 327903"/>
                <a:gd name="connsiteX4" fmla="*/ 53183 w 231192"/>
                <a:gd name="connsiteY4" fmla="*/ 0 h 327903"/>
                <a:gd name="connsiteX5" fmla="*/ 53183 w 231192"/>
                <a:gd name="connsiteY5" fmla="*/ 0 h 327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1192" h="327903">
                  <a:moveTo>
                    <a:pt x="53183" y="0"/>
                  </a:moveTo>
                  <a:cubicBezTo>
                    <a:pt x="136005" y="82653"/>
                    <a:pt x="198842" y="187494"/>
                    <a:pt x="231192" y="308426"/>
                  </a:cubicBezTo>
                  <a:lnTo>
                    <a:pt x="158532" y="327903"/>
                  </a:lnTo>
                  <a:cubicBezTo>
                    <a:pt x="129569" y="220014"/>
                    <a:pt x="73677" y="126690"/>
                    <a:pt x="0" y="53183"/>
                  </a:cubicBezTo>
                  <a:lnTo>
                    <a:pt x="53183" y="0"/>
                  </a:lnTo>
                  <a:lnTo>
                    <a:pt x="53183" y="0"/>
                  </a:lnTo>
                  <a:close/>
                </a:path>
              </a:pathLst>
            </a:custGeom>
            <a:solidFill>
              <a:srgbClr val="FF9966"/>
            </a:solidFill>
            <a:ln w="16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7E5A76F2-44B4-BDC6-DA4B-7032223C948A}"/>
                </a:ext>
              </a:extLst>
            </p:cNvPr>
            <p:cNvSpPr/>
            <p:nvPr/>
          </p:nvSpPr>
          <p:spPr>
            <a:xfrm>
              <a:off x="6577510" y="2118005"/>
              <a:ext cx="356188" cy="96293"/>
            </a:xfrm>
            <a:custGeom>
              <a:avLst/>
              <a:gdLst>
                <a:gd name="connsiteX0" fmla="*/ 0 w 356188"/>
                <a:gd name="connsiteY0" fmla="*/ 23633 h 96293"/>
                <a:gd name="connsiteX1" fmla="*/ 356188 w 356188"/>
                <a:gd name="connsiteY1" fmla="*/ 23633 h 96293"/>
                <a:gd name="connsiteX2" fmla="*/ 336711 w 356188"/>
                <a:gd name="connsiteY2" fmla="*/ 96294 h 96293"/>
                <a:gd name="connsiteX3" fmla="*/ 19478 w 356188"/>
                <a:gd name="connsiteY3" fmla="*/ 96294 h 96293"/>
                <a:gd name="connsiteX4" fmla="*/ 0 w 356188"/>
                <a:gd name="connsiteY4" fmla="*/ 23633 h 96293"/>
                <a:gd name="connsiteX5" fmla="*/ 0 w 356188"/>
                <a:gd name="connsiteY5" fmla="*/ 23633 h 96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6188" h="96293">
                  <a:moveTo>
                    <a:pt x="0" y="23633"/>
                  </a:moveTo>
                  <a:cubicBezTo>
                    <a:pt x="121101" y="-8886"/>
                    <a:pt x="243218" y="-6853"/>
                    <a:pt x="356188" y="23633"/>
                  </a:cubicBezTo>
                  <a:lnTo>
                    <a:pt x="336711" y="96294"/>
                  </a:lnTo>
                  <a:cubicBezTo>
                    <a:pt x="236104" y="69194"/>
                    <a:pt x="127367" y="67501"/>
                    <a:pt x="19478" y="96294"/>
                  </a:cubicBezTo>
                  <a:lnTo>
                    <a:pt x="0" y="23633"/>
                  </a:lnTo>
                  <a:lnTo>
                    <a:pt x="0" y="23633"/>
                  </a:lnTo>
                  <a:close/>
                </a:path>
              </a:pathLst>
            </a:custGeom>
            <a:solidFill>
              <a:srgbClr val="002060"/>
            </a:solidFill>
            <a:ln w="16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40" name="Rectangle 139">
            <a:extLst>
              <a:ext uri="{FF2B5EF4-FFF2-40B4-BE49-F238E27FC236}">
                <a16:creationId xmlns:a16="http://schemas.microsoft.com/office/drawing/2014/main" id="{2259E79F-CC30-A39D-97E4-7E7097D0AF13}"/>
              </a:ext>
            </a:extLst>
          </p:cNvPr>
          <p:cNvSpPr/>
          <p:nvPr/>
        </p:nvSpPr>
        <p:spPr>
          <a:xfrm>
            <a:off x="6135622" y="1340005"/>
            <a:ext cx="1227626" cy="2896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duces Inflammatory Cytokines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A696F522-8A21-C669-F4CB-BAE43182C772}"/>
              </a:ext>
            </a:extLst>
          </p:cNvPr>
          <p:cNvSpPr/>
          <p:nvPr/>
        </p:nvSpPr>
        <p:spPr>
          <a:xfrm>
            <a:off x="7250931" y="1601527"/>
            <a:ext cx="1028571" cy="2896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000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gma receptor blockade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BD35362C-CF63-96DC-B47E-4F05E59EDBFC}"/>
              </a:ext>
            </a:extLst>
          </p:cNvPr>
          <p:cNvSpPr/>
          <p:nvPr/>
        </p:nvSpPr>
        <p:spPr>
          <a:xfrm>
            <a:off x="7768361" y="2103445"/>
            <a:ext cx="967427" cy="2896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000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asogenic Edema</a:t>
            </a: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8552FDC6-E9E5-60AE-7F14-9FC7F5E7A1F2}"/>
              </a:ext>
            </a:extLst>
          </p:cNvPr>
          <p:cNvSpPr/>
          <p:nvPr/>
        </p:nvSpPr>
        <p:spPr>
          <a:xfrm>
            <a:off x="7972195" y="2657260"/>
            <a:ext cx="900343" cy="2896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000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duces Cerebral Edema</a:t>
            </a: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AD5FD1F6-C5DC-4ED5-A79C-7F0A11A2794F}"/>
              </a:ext>
            </a:extLst>
          </p:cNvPr>
          <p:cNvSpPr/>
          <p:nvPr/>
        </p:nvSpPr>
        <p:spPr>
          <a:xfrm>
            <a:off x="7790048" y="3219520"/>
            <a:ext cx="900343" cy="2896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000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ytotoxic Edema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DF56BBE5-70AC-45AF-9399-0F0D205F9F91}"/>
              </a:ext>
            </a:extLst>
          </p:cNvPr>
          <p:cNvSpPr/>
          <p:nvPr/>
        </p:nvSpPr>
        <p:spPr>
          <a:xfrm>
            <a:off x="7393563" y="3690492"/>
            <a:ext cx="885936" cy="2896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000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hances GABA</a:t>
            </a: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690154BA-E0CD-25D3-416C-DD4ED1058DD4}"/>
              </a:ext>
            </a:extLst>
          </p:cNvPr>
          <p:cNvSpPr/>
          <p:nvPr/>
        </p:nvSpPr>
        <p:spPr>
          <a:xfrm>
            <a:off x="6372312" y="3890085"/>
            <a:ext cx="763593" cy="2896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locks Excitotoxicity</a:t>
            </a: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CA07FD59-6DF1-D0A0-6BA3-7510305D459B}"/>
              </a:ext>
            </a:extLst>
          </p:cNvPr>
          <p:cNvSpPr/>
          <p:nvPr/>
        </p:nvSpPr>
        <p:spPr>
          <a:xfrm>
            <a:off x="5105101" y="3690492"/>
            <a:ext cx="1008327" cy="2896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en-US" sz="1000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duces free radicals &amp; lipid peroxidation</a:t>
            </a: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7EF9B5AB-D6DA-63BD-0CF1-88C75EB6EED2}"/>
              </a:ext>
            </a:extLst>
          </p:cNvPr>
          <p:cNvSpPr/>
          <p:nvPr/>
        </p:nvSpPr>
        <p:spPr>
          <a:xfrm>
            <a:off x="4951069" y="3221848"/>
            <a:ext cx="763593" cy="2896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en-US" sz="1000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tochondrial Recoupling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4BD28BAA-555C-3E93-8A0C-6FCBD5AE863D}"/>
              </a:ext>
            </a:extLst>
          </p:cNvPr>
          <p:cNvSpPr/>
          <p:nvPr/>
        </p:nvSpPr>
        <p:spPr>
          <a:xfrm>
            <a:off x="4772636" y="2662451"/>
            <a:ext cx="763593" cy="2896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en-US" sz="1000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duce Apoptosis</a:t>
            </a: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5965AA0E-A332-6DDB-C28F-9DB295E78A75}"/>
              </a:ext>
            </a:extLst>
          </p:cNvPr>
          <p:cNvSpPr/>
          <p:nvPr/>
        </p:nvSpPr>
        <p:spPr>
          <a:xfrm>
            <a:off x="4959139" y="2103445"/>
            <a:ext cx="763593" cy="2896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en-US" sz="1000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creases Bcl2 </a:t>
            </a:r>
            <a:r>
              <a:rPr lang="en-US" sz="1000" dirty="0" err="1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KTP</a:t>
            </a:r>
            <a:endParaRPr lang="en-US" sz="1000" dirty="0">
              <a:solidFill>
                <a:srgbClr val="04143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2B356930-C2CD-0FDE-AB5A-3BB5639F95E4}"/>
              </a:ext>
            </a:extLst>
          </p:cNvPr>
          <p:cNvSpPr/>
          <p:nvPr/>
        </p:nvSpPr>
        <p:spPr>
          <a:xfrm>
            <a:off x="5466187" y="1601527"/>
            <a:ext cx="763593" cy="2896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myelination</a:t>
            </a:r>
          </a:p>
        </p:txBody>
      </p: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8A4B17CD-19EE-CBE2-3638-C6C08877DB1F}"/>
              </a:ext>
            </a:extLst>
          </p:cNvPr>
          <p:cNvCxnSpPr>
            <a:cxnSpLocks/>
          </p:cNvCxnSpPr>
          <p:nvPr/>
        </p:nvCxnSpPr>
        <p:spPr>
          <a:xfrm flipH="1">
            <a:off x="4569606" y="1310465"/>
            <a:ext cx="932" cy="2952754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55963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232F49F-2B5E-1FA8-D2AE-F911FDE1CC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232F49F-2B5E-1FA8-D2AE-F911FDE1CC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A close-up of two people holding hands&#10;&#10;Description automatically generated with low confidence">
            <a:extLst>
              <a:ext uri="{FF2B5EF4-FFF2-40B4-BE49-F238E27FC236}">
                <a16:creationId xmlns:a16="http://schemas.microsoft.com/office/drawing/2014/main" id="{369D9885-64F6-E4EE-8780-30EFFFC64F2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30982" b="36818"/>
          <a:stretch/>
        </p:blipFill>
        <p:spPr>
          <a:xfrm>
            <a:off x="0" y="1"/>
            <a:ext cx="9144000" cy="165767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63E7283-49FC-970E-2E8A-26072AB17894}"/>
              </a:ext>
            </a:extLst>
          </p:cNvPr>
          <p:cNvSpPr/>
          <p:nvPr/>
        </p:nvSpPr>
        <p:spPr>
          <a:xfrm>
            <a:off x="-1" y="-1"/>
            <a:ext cx="9144001" cy="1657677"/>
          </a:xfrm>
          <a:prstGeom prst="rect">
            <a:avLst/>
          </a:prstGeom>
          <a:solidFill>
            <a:schemeClr val="tx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FF78511-7BF6-B49A-0C16-DE14087B12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607" y="202634"/>
            <a:ext cx="8604931" cy="369332"/>
          </a:xfrm>
        </p:spPr>
        <p:txBody>
          <a:bodyPr vert="horz"/>
          <a:lstStyle/>
          <a:p>
            <a:r>
              <a:rPr lang="en-US" dirty="0"/>
              <a:t>Neurosteroids gaining traction as CNS therapeutic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E95EC2B-311F-D916-5D57-25DE8541CBAB}"/>
              </a:ext>
            </a:extLst>
          </p:cNvPr>
          <p:cNvSpPr txBox="1"/>
          <p:nvPr/>
        </p:nvSpPr>
        <p:spPr>
          <a:xfrm>
            <a:off x="267607" y="1207201"/>
            <a:ext cx="8604000" cy="450475"/>
          </a:xfrm>
          <a:prstGeom prst="rect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1500" b="1">
                <a:solidFill>
                  <a:schemeClr val="l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defRPr/>
            </a:pPr>
            <a:r>
              <a:rPr lang="en-US" sz="1600" dirty="0">
                <a:solidFill>
                  <a:srgbClr val="FFFFFF"/>
                </a:solidFill>
              </a:rPr>
              <a:t>Recent approvals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4A70093-FE41-0E1B-0D35-99C3E6E9BAE1}"/>
              </a:ext>
            </a:extLst>
          </p:cNvPr>
          <p:cNvGrpSpPr/>
          <p:nvPr/>
        </p:nvGrpSpPr>
        <p:grpSpPr>
          <a:xfrm>
            <a:off x="267607" y="1750123"/>
            <a:ext cx="8604000" cy="656413"/>
            <a:chOff x="267607" y="1750123"/>
            <a:chExt cx="8604000" cy="656413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44B4885B-479E-E2DD-FE0E-9ADF4A167045}"/>
                </a:ext>
              </a:extLst>
            </p:cNvPr>
            <p:cNvCxnSpPr>
              <a:stCxn id="15" idx="6"/>
              <a:endCxn id="13" idx="2"/>
            </p:cNvCxnSpPr>
            <p:nvPr/>
          </p:nvCxnSpPr>
          <p:spPr>
            <a:xfrm flipV="1">
              <a:off x="347768" y="1953393"/>
              <a:ext cx="0" cy="249873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54FB667F-7392-1F51-1383-3752A54B0870}"/>
                </a:ext>
              </a:extLst>
            </p:cNvPr>
            <p:cNvSpPr>
              <a:spLocks noChangeAspect="1"/>
            </p:cNvSpPr>
            <p:nvPr/>
          </p:nvSpPr>
          <p:spPr>
            <a:xfrm rot="16200000">
              <a:off x="267608" y="1793073"/>
              <a:ext cx="160319" cy="160321"/>
            </a:xfrm>
            <a:prstGeom prst="ellipse">
              <a:avLst/>
            </a:prstGeom>
            <a:gradFill flip="none" rotWithShape="1">
              <a:gsLst>
                <a:gs pos="49400">
                  <a:srgbClr val="316399"/>
                </a:gs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rgbClr val="04143F"/>
                </a:gs>
              </a:gsLst>
              <a:path path="circle">
                <a:fillToRect l="100000" b="100000"/>
              </a:path>
              <a:tileRect t="-100000" r="-100000"/>
            </a:gradFill>
            <a:ln w="28575"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t"/>
            <a:lstStyle/>
            <a:p>
              <a:endParaRPr lang="en-US" b="1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D8A064E-CF56-40DC-FF08-2E8EA512470B}"/>
                </a:ext>
              </a:extLst>
            </p:cNvPr>
            <p:cNvSpPr/>
            <p:nvPr/>
          </p:nvSpPr>
          <p:spPr>
            <a:xfrm>
              <a:off x="567475" y="1750123"/>
              <a:ext cx="8304132" cy="246221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Zulresso</a:t>
              </a:r>
              <a:r>
                <a:rPr kumimoji="1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™ (</a:t>
              </a:r>
              <a:r>
                <a:rPr kumimoji="1" lang="en-US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rexanolone</a:t>
              </a:r>
              <a:r>
                <a:rPr kumimoji="1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IV form of allopregnanolone) </a:t>
              </a:r>
              <a:r>
                <a:rPr kumimoji="1" lang="en-US" sz="1600" i="0" u="none" strike="noStrike" kern="1200" cap="none" spc="0" normalizeH="0" baseline="0" noProof="0" dirty="0">
                  <a:ln>
                    <a:noFill/>
                  </a:ln>
                  <a:solidFill>
                    <a:srgbClr val="04143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or PPD (March, 2019)</a:t>
              </a: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7AFD97A0-AD8C-4876-2096-1FB09E84E93C}"/>
                </a:ext>
              </a:extLst>
            </p:cNvPr>
            <p:cNvSpPr>
              <a:spLocks noChangeAspect="1"/>
            </p:cNvSpPr>
            <p:nvPr/>
          </p:nvSpPr>
          <p:spPr>
            <a:xfrm rot="16200000">
              <a:off x="267608" y="2203265"/>
              <a:ext cx="160319" cy="160321"/>
            </a:xfrm>
            <a:prstGeom prst="ellipse">
              <a:avLst/>
            </a:prstGeom>
            <a:gradFill flip="none" rotWithShape="1">
              <a:gsLst>
                <a:gs pos="49400">
                  <a:srgbClr val="316399"/>
                </a:gs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rgbClr val="04143F"/>
                </a:gs>
              </a:gsLst>
              <a:path path="circle">
                <a:fillToRect l="100000" b="100000"/>
              </a:path>
              <a:tileRect t="-100000" r="-100000"/>
            </a:gradFill>
            <a:ln w="28575"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t"/>
            <a:lstStyle/>
            <a:p>
              <a:endParaRPr lang="en-US" sz="1200" b="1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6D5B9E3A-4CB2-573D-0B77-1E1815D99E6D}"/>
                </a:ext>
              </a:extLst>
            </p:cNvPr>
            <p:cNvSpPr/>
            <p:nvPr/>
          </p:nvSpPr>
          <p:spPr>
            <a:xfrm>
              <a:off x="567475" y="2160315"/>
              <a:ext cx="8304132" cy="246221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Ztalmy</a:t>
              </a:r>
              <a:r>
                <a:rPr kumimoji="1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™ (</a:t>
              </a:r>
              <a:r>
                <a:rPr kumimoji="1" lang="en-US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anaxolone</a:t>
              </a:r>
              <a:r>
                <a:rPr kumimoji="1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) </a:t>
              </a:r>
              <a:r>
                <a:rPr kumimoji="1" lang="en-US" sz="1600" i="0" u="none" strike="noStrike" kern="1200" cap="none" spc="0" normalizeH="0" baseline="0" noProof="0" dirty="0">
                  <a:ln>
                    <a:noFill/>
                  </a:ln>
                  <a:solidFill>
                    <a:srgbClr val="04143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or a rare epilepsy disorder (March 2022)</a:t>
              </a: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860510C9-9033-2E09-8083-08E379AF7B45}"/>
              </a:ext>
            </a:extLst>
          </p:cNvPr>
          <p:cNvSpPr txBox="1"/>
          <p:nvPr/>
        </p:nvSpPr>
        <p:spPr>
          <a:xfrm>
            <a:off x="267607" y="2558438"/>
            <a:ext cx="8604000" cy="450475"/>
          </a:xfrm>
          <a:prstGeom prst="rect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1500" b="1">
                <a:solidFill>
                  <a:schemeClr val="l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defRPr/>
            </a:pPr>
            <a:r>
              <a:rPr lang="en-US" sz="1600" dirty="0">
                <a:solidFill>
                  <a:srgbClr val="FFFFFF"/>
                </a:solidFill>
              </a:rPr>
              <a:t>Others in development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F9BD632-834F-A940-F638-7DD1C93A1C65}"/>
              </a:ext>
            </a:extLst>
          </p:cNvPr>
          <p:cNvCxnSpPr>
            <a:cxnSpLocks/>
            <a:stCxn id="28" idx="6"/>
            <a:endCxn id="21" idx="2"/>
          </p:cNvCxnSpPr>
          <p:nvPr/>
        </p:nvCxnSpPr>
        <p:spPr>
          <a:xfrm flipV="1">
            <a:off x="347768" y="3304630"/>
            <a:ext cx="0" cy="1118003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Oval 20">
            <a:extLst>
              <a:ext uri="{FF2B5EF4-FFF2-40B4-BE49-F238E27FC236}">
                <a16:creationId xmlns:a16="http://schemas.microsoft.com/office/drawing/2014/main" id="{C0477A3E-D7AA-3F08-6443-6316B0DE3D4C}"/>
              </a:ext>
            </a:extLst>
          </p:cNvPr>
          <p:cNvSpPr>
            <a:spLocks noChangeAspect="1"/>
          </p:cNvSpPr>
          <p:nvPr/>
        </p:nvSpPr>
        <p:spPr>
          <a:xfrm rot="16200000">
            <a:off x="267608" y="3144310"/>
            <a:ext cx="160319" cy="160321"/>
          </a:xfrm>
          <a:prstGeom prst="ellipse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28575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t"/>
          <a:lstStyle/>
          <a:p>
            <a:endParaRPr lang="en-US" b="1">
              <a:solidFill>
                <a:srgbClr val="04143F"/>
              </a:solidFill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F7AE6D0-0B7A-C910-2979-58A2B4C68070}"/>
              </a:ext>
            </a:extLst>
          </p:cNvPr>
          <p:cNvSpPr/>
          <p:nvPr/>
        </p:nvSpPr>
        <p:spPr>
          <a:xfrm>
            <a:off x="567475" y="3101360"/>
            <a:ext cx="8304132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600" i="0" u="none" strike="noStrike" kern="1200" cap="none" spc="0" normalizeH="0" baseline="0" noProof="0" dirty="0" err="1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uranolone</a:t>
            </a:r>
            <a:r>
              <a:rPr kumimoji="1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hase 3+ for Major depressive Disorder and other forms of depression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D3E43359-CDA0-118F-8013-7C4E8DEB3400}"/>
              </a:ext>
            </a:extLst>
          </p:cNvPr>
          <p:cNvSpPr>
            <a:spLocks noChangeAspect="1"/>
          </p:cNvSpPr>
          <p:nvPr/>
        </p:nvSpPr>
        <p:spPr>
          <a:xfrm rot="16200000">
            <a:off x="267608" y="3570417"/>
            <a:ext cx="160319" cy="160321"/>
          </a:xfrm>
          <a:prstGeom prst="ellipse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28575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t"/>
          <a:lstStyle/>
          <a:p>
            <a:endParaRPr lang="en-US" sz="1200" b="1">
              <a:solidFill>
                <a:srgbClr val="04143F"/>
              </a:solidFill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22C9200-D3F1-0C3B-272A-308375C4C00C}"/>
              </a:ext>
            </a:extLst>
          </p:cNvPr>
          <p:cNvSpPr/>
          <p:nvPr/>
        </p:nvSpPr>
        <p:spPr>
          <a:xfrm>
            <a:off x="567475" y="3527467"/>
            <a:ext cx="8304132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94B in Phase 3 for social anxiety disorder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82DCD3F-BDC0-E307-642C-1EA4C86EF43B}"/>
              </a:ext>
            </a:extLst>
          </p:cNvPr>
          <p:cNvSpPr/>
          <p:nvPr/>
        </p:nvSpPr>
        <p:spPr>
          <a:xfrm>
            <a:off x="567475" y="3953574"/>
            <a:ext cx="8304132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GE-324 in Phase 2 for essential tremor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F90905F-1E1C-EB75-F00B-3EB37AABC61E}"/>
              </a:ext>
            </a:extLst>
          </p:cNvPr>
          <p:cNvSpPr/>
          <p:nvPr/>
        </p:nvSpPr>
        <p:spPr>
          <a:xfrm>
            <a:off x="567475" y="4379682"/>
            <a:ext cx="8304132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GE 718 in Phase 2 for neurodegenerative disease cognitive impairment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DBEF132E-ABC4-2136-53A7-074864B0B7E6}"/>
              </a:ext>
            </a:extLst>
          </p:cNvPr>
          <p:cNvSpPr>
            <a:spLocks noChangeAspect="1"/>
          </p:cNvSpPr>
          <p:nvPr/>
        </p:nvSpPr>
        <p:spPr>
          <a:xfrm rot="16200000">
            <a:off x="267608" y="3996524"/>
            <a:ext cx="160319" cy="160321"/>
          </a:xfrm>
          <a:prstGeom prst="ellipse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28575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t"/>
          <a:lstStyle/>
          <a:p>
            <a:endParaRPr lang="en-US" sz="1200" b="1">
              <a:solidFill>
                <a:srgbClr val="04143F"/>
              </a:solidFill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BBB42702-5F6A-F312-77F1-1D43DC187B9F}"/>
              </a:ext>
            </a:extLst>
          </p:cNvPr>
          <p:cNvSpPr>
            <a:spLocks noChangeAspect="1"/>
          </p:cNvSpPr>
          <p:nvPr/>
        </p:nvSpPr>
        <p:spPr>
          <a:xfrm rot="16200000">
            <a:off x="267608" y="4422632"/>
            <a:ext cx="160319" cy="160321"/>
          </a:xfrm>
          <a:prstGeom prst="ellipse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28575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t"/>
          <a:lstStyle/>
          <a:p>
            <a:endParaRPr lang="en-US" sz="1200" b="1">
              <a:solidFill>
                <a:srgbClr val="04143F"/>
              </a:solidFill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08313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DB635C8-F05F-3B42-8B56-D16A5E68BE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DB635C8-F05F-3B42-8B56-D16A5E68BE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8CE88826-83C8-5BAD-47EB-68014C6C8B4C}"/>
              </a:ext>
            </a:extLst>
          </p:cNvPr>
          <p:cNvSpPr txBox="1"/>
          <p:nvPr/>
        </p:nvSpPr>
        <p:spPr>
          <a:xfrm>
            <a:off x="456170" y="4898105"/>
            <a:ext cx="7072086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7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 </a:t>
            </a:r>
            <a:r>
              <a:rPr lang="en-US" sz="700" dirty="0" err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TECT</a:t>
            </a:r>
            <a:r>
              <a:rPr lang="en-US" sz="7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d SYNAPSE study publications; 2. Stein, Brain Injury 29:  1259-1272, 2015; Schumacher et al., J. Steroid </a:t>
            </a:r>
            <a:r>
              <a:rPr lang="en-US" sz="700" dirty="0" err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iochem</a:t>
            </a:r>
            <a:r>
              <a:rPr lang="en-US" sz="7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Mol Biol. 160: 53-66, 2016; </a:t>
            </a:r>
            <a:r>
              <a:rPr lang="en-US" sz="700" dirty="0" err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e</a:t>
            </a:r>
            <a:r>
              <a:rPr lang="en-US" sz="7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See referenc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2E91F5E-F7B7-11D9-B7C2-A027A5D2B2D5}"/>
              </a:ext>
            </a:extLst>
          </p:cNvPr>
          <p:cNvSpPr txBox="1"/>
          <p:nvPr/>
        </p:nvSpPr>
        <p:spPr>
          <a:xfrm>
            <a:off x="267607" y="2289530"/>
            <a:ext cx="1988413" cy="98488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Progesterone was the prototype of a multi-targeted neuroactive, </a:t>
            </a:r>
            <a:b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</a:b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brain-penetrant steroid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1B64A51-19EB-F42B-DC54-DD5626BB57E4}"/>
              </a:ext>
            </a:extLst>
          </p:cNvPr>
          <p:cNvSpPr txBox="1"/>
          <p:nvPr/>
        </p:nvSpPr>
        <p:spPr>
          <a:xfrm>
            <a:off x="2473113" y="2289530"/>
            <a:ext cx="1988413" cy="203132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Decades of published evidence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&gt;300 preclinical reports in TBI and stroke pointed to therapeutic potential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nown U-shaped dose-response relationship (i.e. </a:t>
            </a:r>
            <a:r>
              <a:rPr lang="en-US" sz="1200" u="sng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igher doses not efficacious</a:t>
            </a:r>
            <a:r>
              <a:rPr lang="en-US" sz="1200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4143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4143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58EE49D-3FC7-8025-FA66-7682D7F52A22}"/>
              </a:ext>
            </a:extLst>
          </p:cNvPr>
          <p:cNvCxnSpPr>
            <a:cxnSpLocks/>
          </p:cNvCxnSpPr>
          <p:nvPr/>
        </p:nvCxnSpPr>
        <p:spPr>
          <a:xfrm flipH="1">
            <a:off x="2364567" y="2345376"/>
            <a:ext cx="0" cy="188314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282BEB4C-4E03-2324-15F6-E00A7BDD450E}"/>
              </a:ext>
            </a:extLst>
          </p:cNvPr>
          <p:cNvCxnSpPr>
            <a:cxnSpLocks/>
          </p:cNvCxnSpPr>
          <p:nvPr/>
        </p:nvCxnSpPr>
        <p:spPr>
          <a:xfrm flipH="1">
            <a:off x="4570073" y="2345376"/>
            <a:ext cx="0" cy="188314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208A9D79-41A1-68FB-3B0B-EED3BFB6428B}"/>
              </a:ext>
            </a:extLst>
          </p:cNvPr>
          <p:cNvCxnSpPr>
            <a:cxnSpLocks/>
          </p:cNvCxnSpPr>
          <p:nvPr/>
        </p:nvCxnSpPr>
        <p:spPr>
          <a:xfrm flipH="1">
            <a:off x="6775578" y="2345376"/>
            <a:ext cx="0" cy="188314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92A2F502-ED1C-3B28-EDBD-583DDFFE5C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607" y="17968"/>
            <a:ext cx="8604931" cy="738664"/>
          </a:xfrm>
        </p:spPr>
        <p:txBody>
          <a:bodyPr vert="horz"/>
          <a:lstStyle/>
          <a:p>
            <a:r>
              <a:rPr lang="en-US" dirty="0"/>
              <a:t>Progesterone Represented A Compelling Approach For Neuroprotection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C7049AE2-755A-CBB9-CFFC-60C3665B3DA6}"/>
              </a:ext>
            </a:extLst>
          </p:cNvPr>
          <p:cNvSpPr/>
          <p:nvPr/>
        </p:nvSpPr>
        <p:spPr>
          <a:xfrm>
            <a:off x="738191" y="962054"/>
            <a:ext cx="1048041" cy="1048041"/>
          </a:xfrm>
          <a:custGeom>
            <a:avLst/>
            <a:gdLst>
              <a:gd name="connsiteX0" fmla="*/ 1871076 w 2090660"/>
              <a:gd name="connsiteY0" fmla="*/ 2090660 h 2090659"/>
              <a:gd name="connsiteX1" fmla="*/ 219584 w 2090660"/>
              <a:gd name="connsiteY1" fmla="*/ 2090660 h 2090659"/>
              <a:gd name="connsiteX2" fmla="*/ 0 w 2090660"/>
              <a:gd name="connsiteY2" fmla="*/ 1871075 h 2090659"/>
              <a:gd name="connsiteX3" fmla="*/ 0 w 2090660"/>
              <a:gd name="connsiteY3" fmla="*/ 219584 h 2090659"/>
              <a:gd name="connsiteX4" fmla="*/ 219584 w 2090660"/>
              <a:gd name="connsiteY4" fmla="*/ 0 h 2090659"/>
              <a:gd name="connsiteX5" fmla="*/ 1871076 w 2090660"/>
              <a:gd name="connsiteY5" fmla="*/ 0 h 2090659"/>
              <a:gd name="connsiteX6" fmla="*/ 2090660 w 2090660"/>
              <a:gd name="connsiteY6" fmla="*/ 219584 h 2090659"/>
              <a:gd name="connsiteX7" fmla="*/ 2090660 w 2090660"/>
              <a:gd name="connsiteY7" fmla="*/ 1871075 h 2090659"/>
              <a:gd name="connsiteX8" fmla="*/ 1871076 w 2090660"/>
              <a:gd name="connsiteY8" fmla="*/ 2090660 h 2090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90660" h="2090659">
                <a:moveTo>
                  <a:pt x="1871076" y="2090660"/>
                </a:moveTo>
                <a:lnTo>
                  <a:pt x="219584" y="2090660"/>
                </a:lnTo>
                <a:cubicBezTo>
                  <a:pt x="98193" y="2090660"/>
                  <a:pt x="0" y="1992149"/>
                  <a:pt x="0" y="1871075"/>
                </a:cubicBezTo>
                <a:lnTo>
                  <a:pt x="0" y="219584"/>
                </a:lnTo>
                <a:cubicBezTo>
                  <a:pt x="0" y="98193"/>
                  <a:pt x="98511" y="0"/>
                  <a:pt x="219584" y="0"/>
                </a:cubicBezTo>
                <a:lnTo>
                  <a:pt x="1871076" y="0"/>
                </a:lnTo>
                <a:cubicBezTo>
                  <a:pt x="1992467" y="0"/>
                  <a:pt x="2090660" y="98511"/>
                  <a:pt x="2090660" y="219584"/>
                </a:cubicBezTo>
                <a:lnTo>
                  <a:pt x="2090660" y="1871075"/>
                </a:lnTo>
                <a:cubicBezTo>
                  <a:pt x="2090660" y="1992466"/>
                  <a:pt x="1992467" y="2090660"/>
                  <a:pt x="1871076" y="2090660"/>
                </a:cubicBezTo>
                <a:close/>
              </a:path>
            </a:pathLst>
          </a:custGeom>
          <a:solidFill>
            <a:schemeClr val="bg1"/>
          </a:solidFill>
          <a:ln w="3178" cap="flat">
            <a:noFill/>
            <a:prstDash val="solid"/>
            <a:miter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53CA3D5-4EF1-5023-65B8-CE24BF58B0C2}"/>
              </a:ext>
            </a:extLst>
          </p:cNvPr>
          <p:cNvSpPr/>
          <p:nvPr/>
        </p:nvSpPr>
        <p:spPr>
          <a:xfrm>
            <a:off x="636876" y="1521838"/>
            <a:ext cx="636407" cy="589573"/>
          </a:xfrm>
          <a:custGeom>
            <a:avLst/>
            <a:gdLst>
              <a:gd name="connsiteX0" fmla="*/ 1247596 w 1269522"/>
              <a:gd name="connsiteY0" fmla="*/ 1176095 h 1176095"/>
              <a:gd name="connsiteX1" fmla="*/ 1230753 w 1269522"/>
              <a:gd name="connsiteY1" fmla="*/ 1176095 h 1176095"/>
              <a:gd name="connsiteX2" fmla="*/ 1208827 w 1269522"/>
              <a:gd name="connsiteY2" fmla="*/ 1154169 h 1176095"/>
              <a:gd name="connsiteX3" fmla="*/ 1230753 w 1269522"/>
              <a:gd name="connsiteY3" fmla="*/ 1132242 h 1176095"/>
              <a:gd name="connsiteX4" fmla="*/ 1247596 w 1269522"/>
              <a:gd name="connsiteY4" fmla="*/ 1132242 h 1176095"/>
              <a:gd name="connsiteX5" fmla="*/ 1269522 w 1269522"/>
              <a:gd name="connsiteY5" fmla="*/ 1154169 h 1176095"/>
              <a:gd name="connsiteX6" fmla="*/ 1247596 w 1269522"/>
              <a:gd name="connsiteY6" fmla="*/ 1176095 h 1176095"/>
              <a:gd name="connsiteX7" fmla="*/ 1060742 w 1269522"/>
              <a:gd name="connsiteY7" fmla="*/ 1176095 h 1176095"/>
              <a:gd name="connsiteX8" fmla="*/ 1043900 w 1269522"/>
              <a:gd name="connsiteY8" fmla="*/ 1176095 h 1176095"/>
              <a:gd name="connsiteX9" fmla="*/ 1021973 w 1269522"/>
              <a:gd name="connsiteY9" fmla="*/ 1154169 h 1176095"/>
              <a:gd name="connsiteX10" fmla="*/ 1043900 w 1269522"/>
              <a:gd name="connsiteY10" fmla="*/ 1132242 h 1176095"/>
              <a:gd name="connsiteX11" fmla="*/ 1060742 w 1269522"/>
              <a:gd name="connsiteY11" fmla="*/ 1132242 h 1176095"/>
              <a:gd name="connsiteX12" fmla="*/ 1082669 w 1269522"/>
              <a:gd name="connsiteY12" fmla="*/ 1154169 h 1176095"/>
              <a:gd name="connsiteX13" fmla="*/ 1060742 w 1269522"/>
              <a:gd name="connsiteY13" fmla="*/ 1176095 h 1176095"/>
              <a:gd name="connsiteX14" fmla="*/ 874207 w 1269522"/>
              <a:gd name="connsiteY14" fmla="*/ 1176095 h 1176095"/>
              <a:gd name="connsiteX15" fmla="*/ 857364 w 1269522"/>
              <a:gd name="connsiteY15" fmla="*/ 1176095 h 1176095"/>
              <a:gd name="connsiteX16" fmla="*/ 835438 w 1269522"/>
              <a:gd name="connsiteY16" fmla="*/ 1154169 h 1176095"/>
              <a:gd name="connsiteX17" fmla="*/ 857364 w 1269522"/>
              <a:gd name="connsiteY17" fmla="*/ 1132242 h 1176095"/>
              <a:gd name="connsiteX18" fmla="*/ 874207 w 1269522"/>
              <a:gd name="connsiteY18" fmla="*/ 1132242 h 1176095"/>
              <a:gd name="connsiteX19" fmla="*/ 896133 w 1269522"/>
              <a:gd name="connsiteY19" fmla="*/ 1154169 h 1176095"/>
              <a:gd name="connsiteX20" fmla="*/ 874207 w 1269522"/>
              <a:gd name="connsiteY20" fmla="*/ 1176095 h 1176095"/>
              <a:gd name="connsiteX21" fmla="*/ 687353 w 1269522"/>
              <a:gd name="connsiteY21" fmla="*/ 1176095 h 1176095"/>
              <a:gd name="connsiteX22" fmla="*/ 670511 w 1269522"/>
              <a:gd name="connsiteY22" fmla="*/ 1176095 h 1176095"/>
              <a:gd name="connsiteX23" fmla="*/ 648584 w 1269522"/>
              <a:gd name="connsiteY23" fmla="*/ 1154169 h 1176095"/>
              <a:gd name="connsiteX24" fmla="*/ 670511 w 1269522"/>
              <a:gd name="connsiteY24" fmla="*/ 1132242 h 1176095"/>
              <a:gd name="connsiteX25" fmla="*/ 687353 w 1269522"/>
              <a:gd name="connsiteY25" fmla="*/ 1132242 h 1176095"/>
              <a:gd name="connsiteX26" fmla="*/ 709280 w 1269522"/>
              <a:gd name="connsiteY26" fmla="*/ 1154169 h 1176095"/>
              <a:gd name="connsiteX27" fmla="*/ 687353 w 1269522"/>
              <a:gd name="connsiteY27" fmla="*/ 1176095 h 1176095"/>
              <a:gd name="connsiteX28" fmla="*/ 500818 w 1269522"/>
              <a:gd name="connsiteY28" fmla="*/ 1176095 h 1176095"/>
              <a:gd name="connsiteX29" fmla="*/ 483976 w 1269522"/>
              <a:gd name="connsiteY29" fmla="*/ 1176095 h 1176095"/>
              <a:gd name="connsiteX30" fmla="*/ 462049 w 1269522"/>
              <a:gd name="connsiteY30" fmla="*/ 1154169 h 1176095"/>
              <a:gd name="connsiteX31" fmla="*/ 483976 w 1269522"/>
              <a:gd name="connsiteY31" fmla="*/ 1132242 h 1176095"/>
              <a:gd name="connsiteX32" fmla="*/ 500818 w 1269522"/>
              <a:gd name="connsiteY32" fmla="*/ 1132242 h 1176095"/>
              <a:gd name="connsiteX33" fmla="*/ 522744 w 1269522"/>
              <a:gd name="connsiteY33" fmla="*/ 1154169 h 1176095"/>
              <a:gd name="connsiteX34" fmla="*/ 500818 w 1269522"/>
              <a:gd name="connsiteY34" fmla="*/ 1176095 h 1176095"/>
              <a:gd name="connsiteX35" fmla="*/ 313964 w 1269522"/>
              <a:gd name="connsiteY35" fmla="*/ 1176095 h 1176095"/>
              <a:gd name="connsiteX36" fmla="*/ 297122 w 1269522"/>
              <a:gd name="connsiteY36" fmla="*/ 1176095 h 1176095"/>
              <a:gd name="connsiteX37" fmla="*/ 275196 w 1269522"/>
              <a:gd name="connsiteY37" fmla="*/ 1154169 h 1176095"/>
              <a:gd name="connsiteX38" fmla="*/ 297122 w 1269522"/>
              <a:gd name="connsiteY38" fmla="*/ 1132242 h 1176095"/>
              <a:gd name="connsiteX39" fmla="*/ 313964 w 1269522"/>
              <a:gd name="connsiteY39" fmla="*/ 1132242 h 1176095"/>
              <a:gd name="connsiteX40" fmla="*/ 335891 w 1269522"/>
              <a:gd name="connsiteY40" fmla="*/ 1154169 h 1176095"/>
              <a:gd name="connsiteX41" fmla="*/ 313964 w 1269522"/>
              <a:gd name="connsiteY41" fmla="*/ 1176095 h 1176095"/>
              <a:gd name="connsiteX42" fmla="*/ 133784 w 1269522"/>
              <a:gd name="connsiteY42" fmla="*/ 1141458 h 1176095"/>
              <a:gd name="connsiteX43" fmla="*/ 122344 w 1269522"/>
              <a:gd name="connsiteY43" fmla="*/ 1138280 h 1176095"/>
              <a:gd name="connsiteX44" fmla="*/ 106773 w 1269522"/>
              <a:gd name="connsiteY44" fmla="*/ 1128111 h 1176095"/>
              <a:gd name="connsiteX45" fmla="*/ 101689 w 1269522"/>
              <a:gd name="connsiteY45" fmla="*/ 1097286 h 1176095"/>
              <a:gd name="connsiteX46" fmla="*/ 132513 w 1269522"/>
              <a:gd name="connsiteY46" fmla="*/ 1092202 h 1176095"/>
              <a:gd name="connsiteX47" fmla="*/ 145224 w 1269522"/>
              <a:gd name="connsiteY47" fmla="*/ 1100782 h 1176095"/>
              <a:gd name="connsiteX48" fmla="*/ 152533 w 1269522"/>
              <a:gd name="connsiteY48" fmla="*/ 1131289 h 1176095"/>
              <a:gd name="connsiteX49" fmla="*/ 133784 w 1269522"/>
              <a:gd name="connsiteY49" fmla="*/ 1141458 h 1176095"/>
              <a:gd name="connsiteX50" fmla="*/ 27964 w 1269522"/>
              <a:gd name="connsiteY50" fmla="*/ 993691 h 1176095"/>
              <a:gd name="connsiteX51" fmla="*/ 6356 w 1269522"/>
              <a:gd name="connsiteY51" fmla="*/ 976531 h 1176095"/>
              <a:gd name="connsiteX52" fmla="*/ 2860 w 1269522"/>
              <a:gd name="connsiteY52" fmla="*/ 958418 h 1176095"/>
              <a:gd name="connsiteX53" fmla="*/ 21291 w 1269522"/>
              <a:gd name="connsiteY53" fmla="*/ 933313 h 1176095"/>
              <a:gd name="connsiteX54" fmla="*/ 46396 w 1269522"/>
              <a:gd name="connsiteY54" fmla="*/ 951744 h 1176095"/>
              <a:gd name="connsiteX55" fmla="*/ 49256 w 1269522"/>
              <a:gd name="connsiteY55" fmla="*/ 966998 h 1176095"/>
              <a:gd name="connsiteX56" fmla="*/ 32731 w 1269522"/>
              <a:gd name="connsiteY56" fmla="*/ 993373 h 1176095"/>
              <a:gd name="connsiteX57" fmla="*/ 27964 w 1269522"/>
              <a:gd name="connsiteY57" fmla="*/ 993691 h 1176095"/>
              <a:gd name="connsiteX58" fmla="*/ 21927 w 1269522"/>
              <a:gd name="connsiteY58" fmla="*/ 807473 h 1176095"/>
              <a:gd name="connsiteX59" fmla="*/ 0 w 1269522"/>
              <a:gd name="connsiteY59" fmla="*/ 785547 h 1176095"/>
              <a:gd name="connsiteX60" fmla="*/ 0 w 1269522"/>
              <a:gd name="connsiteY60" fmla="*/ 768704 h 1176095"/>
              <a:gd name="connsiteX61" fmla="*/ 21927 w 1269522"/>
              <a:gd name="connsiteY61" fmla="*/ 746778 h 1176095"/>
              <a:gd name="connsiteX62" fmla="*/ 43853 w 1269522"/>
              <a:gd name="connsiteY62" fmla="*/ 768704 h 1176095"/>
              <a:gd name="connsiteX63" fmla="*/ 43853 w 1269522"/>
              <a:gd name="connsiteY63" fmla="*/ 785547 h 1176095"/>
              <a:gd name="connsiteX64" fmla="*/ 21927 w 1269522"/>
              <a:gd name="connsiteY64" fmla="*/ 807473 h 1176095"/>
              <a:gd name="connsiteX65" fmla="*/ 21927 w 1269522"/>
              <a:gd name="connsiteY65" fmla="*/ 620620 h 1176095"/>
              <a:gd name="connsiteX66" fmla="*/ 0 w 1269522"/>
              <a:gd name="connsiteY66" fmla="*/ 598693 h 1176095"/>
              <a:gd name="connsiteX67" fmla="*/ 0 w 1269522"/>
              <a:gd name="connsiteY67" fmla="*/ 581533 h 1176095"/>
              <a:gd name="connsiteX68" fmla="*/ 21927 w 1269522"/>
              <a:gd name="connsiteY68" fmla="*/ 559606 h 1176095"/>
              <a:gd name="connsiteX69" fmla="*/ 43853 w 1269522"/>
              <a:gd name="connsiteY69" fmla="*/ 581533 h 1176095"/>
              <a:gd name="connsiteX70" fmla="*/ 43853 w 1269522"/>
              <a:gd name="connsiteY70" fmla="*/ 598375 h 1176095"/>
              <a:gd name="connsiteX71" fmla="*/ 21927 w 1269522"/>
              <a:gd name="connsiteY71" fmla="*/ 620620 h 1176095"/>
              <a:gd name="connsiteX72" fmla="*/ 21927 w 1269522"/>
              <a:gd name="connsiteY72" fmla="*/ 434084 h 1176095"/>
              <a:gd name="connsiteX73" fmla="*/ 0 w 1269522"/>
              <a:gd name="connsiteY73" fmla="*/ 412158 h 1176095"/>
              <a:gd name="connsiteX74" fmla="*/ 0 w 1269522"/>
              <a:gd name="connsiteY74" fmla="*/ 395316 h 1176095"/>
              <a:gd name="connsiteX75" fmla="*/ 21927 w 1269522"/>
              <a:gd name="connsiteY75" fmla="*/ 373389 h 1176095"/>
              <a:gd name="connsiteX76" fmla="*/ 43853 w 1269522"/>
              <a:gd name="connsiteY76" fmla="*/ 395316 h 1176095"/>
              <a:gd name="connsiteX77" fmla="*/ 43853 w 1269522"/>
              <a:gd name="connsiteY77" fmla="*/ 412158 h 1176095"/>
              <a:gd name="connsiteX78" fmla="*/ 21927 w 1269522"/>
              <a:gd name="connsiteY78" fmla="*/ 434084 h 1176095"/>
              <a:gd name="connsiteX79" fmla="*/ 21927 w 1269522"/>
              <a:gd name="connsiteY79" fmla="*/ 247231 h 1176095"/>
              <a:gd name="connsiteX80" fmla="*/ 0 w 1269522"/>
              <a:gd name="connsiteY80" fmla="*/ 225304 h 1176095"/>
              <a:gd name="connsiteX81" fmla="*/ 0 w 1269522"/>
              <a:gd name="connsiteY81" fmla="*/ 208462 h 1176095"/>
              <a:gd name="connsiteX82" fmla="*/ 21927 w 1269522"/>
              <a:gd name="connsiteY82" fmla="*/ 186536 h 1176095"/>
              <a:gd name="connsiteX83" fmla="*/ 43853 w 1269522"/>
              <a:gd name="connsiteY83" fmla="*/ 208462 h 1176095"/>
              <a:gd name="connsiteX84" fmla="*/ 43853 w 1269522"/>
              <a:gd name="connsiteY84" fmla="*/ 225304 h 1176095"/>
              <a:gd name="connsiteX85" fmla="*/ 21927 w 1269522"/>
              <a:gd name="connsiteY85" fmla="*/ 247231 h 1176095"/>
              <a:gd name="connsiteX86" fmla="*/ 21927 w 1269522"/>
              <a:gd name="connsiteY86" fmla="*/ 60696 h 1176095"/>
              <a:gd name="connsiteX87" fmla="*/ 0 w 1269522"/>
              <a:gd name="connsiteY87" fmla="*/ 38769 h 1176095"/>
              <a:gd name="connsiteX88" fmla="*/ 0 w 1269522"/>
              <a:gd name="connsiteY88" fmla="*/ 21927 h 1176095"/>
              <a:gd name="connsiteX89" fmla="*/ 21927 w 1269522"/>
              <a:gd name="connsiteY89" fmla="*/ 0 h 1176095"/>
              <a:gd name="connsiteX90" fmla="*/ 43853 w 1269522"/>
              <a:gd name="connsiteY90" fmla="*/ 21927 h 1176095"/>
              <a:gd name="connsiteX91" fmla="*/ 43853 w 1269522"/>
              <a:gd name="connsiteY91" fmla="*/ 38769 h 1176095"/>
              <a:gd name="connsiteX92" fmla="*/ 21927 w 1269522"/>
              <a:gd name="connsiteY92" fmla="*/ 60696 h 1176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</a:cxnLst>
            <a:rect l="l" t="t" r="r" b="b"/>
            <a:pathLst>
              <a:path w="1269522" h="1176095">
                <a:moveTo>
                  <a:pt x="1247596" y="1176095"/>
                </a:moveTo>
                <a:lnTo>
                  <a:pt x="1230753" y="1176095"/>
                </a:lnTo>
                <a:cubicBezTo>
                  <a:pt x="1218678" y="1176095"/>
                  <a:pt x="1208827" y="1166244"/>
                  <a:pt x="1208827" y="1154169"/>
                </a:cubicBezTo>
                <a:cubicBezTo>
                  <a:pt x="1208827" y="1142093"/>
                  <a:pt x="1218678" y="1132242"/>
                  <a:pt x="1230753" y="1132242"/>
                </a:cubicBezTo>
                <a:lnTo>
                  <a:pt x="1247596" y="1132242"/>
                </a:lnTo>
                <a:cubicBezTo>
                  <a:pt x="1259671" y="1132242"/>
                  <a:pt x="1269522" y="1142093"/>
                  <a:pt x="1269522" y="1154169"/>
                </a:cubicBezTo>
                <a:cubicBezTo>
                  <a:pt x="1269522" y="1166244"/>
                  <a:pt x="1259671" y="1176095"/>
                  <a:pt x="1247596" y="1176095"/>
                </a:cubicBezTo>
                <a:close/>
                <a:moveTo>
                  <a:pt x="1060742" y="1176095"/>
                </a:moveTo>
                <a:lnTo>
                  <a:pt x="1043900" y="1176095"/>
                </a:lnTo>
                <a:cubicBezTo>
                  <a:pt x="1031825" y="1176095"/>
                  <a:pt x="1021973" y="1166244"/>
                  <a:pt x="1021973" y="1154169"/>
                </a:cubicBezTo>
                <a:cubicBezTo>
                  <a:pt x="1021973" y="1142093"/>
                  <a:pt x="1031825" y="1132242"/>
                  <a:pt x="1043900" y="1132242"/>
                </a:cubicBezTo>
                <a:lnTo>
                  <a:pt x="1060742" y="1132242"/>
                </a:lnTo>
                <a:cubicBezTo>
                  <a:pt x="1072818" y="1132242"/>
                  <a:pt x="1082669" y="1142093"/>
                  <a:pt x="1082669" y="1154169"/>
                </a:cubicBezTo>
                <a:cubicBezTo>
                  <a:pt x="1082669" y="1166244"/>
                  <a:pt x="1072818" y="1176095"/>
                  <a:pt x="1060742" y="1176095"/>
                </a:cubicBezTo>
                <a:close/>
                <a:moveTo>
                  <a:pt x="874207" y="1176095"/>
                </a:moveTo>
                <a:lnTo>
                  <a:pt x="857364" y="1176095"/>
                </a:lnTo>
                <a:cubicBezTo>
                  <a:pt x="845289" y="1176095"/>
                  <a:pt x="835438" y="1166244"/>
                  <a:pt x="835438" y="1154169"/>
                </a:cubicBezTo>
                <a:cubicBezTo>
                  <a:pt x="835438" y="1142093"/>
                  <a:pt x="845289" y="1132242"/>
                  <a:pt x="857364" y="1132242"/>
                </a:cubicBezTo>
                <a:lnTo>
                  <a:pt x="874207" y="1132242"/>
                </a:lnTo>
                <a:cubicBezTo>
                  <a:pt x="886282" y="1132242"/>
                  <a:pt x="896133" y="1142093"/>
                  <a:pt x="896133" y="1154169"/>
                </a:cubicBezTo>
                <a:cubicBezTo>
                  <a:pt x="896133" y="1166244"/>
                  <a:pt x="886282" y="1176095"/>
                  <a:pt x="874207" y="1176095"/>
                </a:cubicBezTo>
                <a:close/>
                <a:moveTo>
                  <a:pt x="687353" y="1176095"/>
                </a:moveTo>
                <a:lnTo>
                  <a:pt x="670511" y="1176095"/>
                </a:lnTo>
                <a:cubicBezTo>
                  <a:pt x="658436" y="1176095"/>
                  <a:pt x="648584" y="1166244"/>
                  <a:pt x="648584" y="1154169"/>
                </a:cubicBezTo>
                <a:cubicBezTo>
                  <a:pt x="648584" y="1142093"/>
                  <a:pt x="658436" y="1132242"/>
                  <a:pt x="670511" y="1132242"/>
                </a:cubicBezTo>
                <a:lnTo>
                  <a:pt x="687353" y="1132242"/>
                </a:lnTo>
                <a:cubicBezTo>
                  <a:pt x="699429" y="1132242"/>
                  <a:pt x="709280" y="1142093"/>
                  <a:pt x="709280" y="1154169"/>
                </a:cubicBezTo>
                <a:cubicBezTo>
                  <a:pt x="709280" y="1166244"/>
                  <a:pt x="699429" y="1176095"/>
                  <a:pt x="687353" y="1176095"/>
                </a:cubicBezTo>
                <a:close/>
                <a:moveTo>
                  <a:pt x="500818" y="1176095"/>
                </a:moveTo>
                <a:lnTo>
                  <a:pt x="483976" y="1176095"/>
                </a:lnTo>
                <a:cubicBezTo>
                  <a:pt x="471900" y="1176095"/>
                  <a:pt x="462049" y="1166244"/>
                  <a:pt x="462049" y="1154169"/>
                </a:cubicBezTo>
                <a:cubicBezTo>
                  <a:pt x="462049" y="1142093"/>
                  <a:pt x="471900" y="1132242"/>
                  <a:pt x="483976" y="1132242"/>
                </a:cubicBezTo>
                <a:lnTo>
                  <a:pt x="500818" y="1132242"/>
                </a:lnTo>
                <a:cubicBezTo>
                  <a:pt x="512893" y="1132242"/>
                  <a:pt x="522744" y="1142093"/>
                  <a:pt x="522744" y="1154169"/>
                </a:cubicBezTo>
                <a:cubicBezTo>
                  <a:pt x="522744" y="1166244"/>
                  <a:pt x="512893" y="1176095"/>
                  <a:pt x="500818" y="1176095"/>
                </a:cubicBezTo>
                <a:close/>
                <a:moveTo>
                  <a:pt x="313964" y="1176095"/>
                </a:moveTo>
                <a:lnTo>
                  <a:pt x="297122" y="1176095"/>
                </a:lnTo>
                <a:cubicBezTo>
                  <a:pt x="285047" y="1176095"/>
                  <a:pt x="275196" y="1166244"/>
                  <a:pt x="275196" y="1154169"/>
                </a:cubicBezTo>
                <a:cubicBezTo>
                  <a:pt x="275196" y="1142093"/>
                  <a:pt x="285047" y="1132242"/>
                  <a:pt x="297122" y="1132242"/>
                </a:cubicBezTo>
                <a:lnTo>
                  <a:pt x="313964" y="1132242"/>
                </a:lnTo>
                <a:cubicBezTo>
                  <a:pt x="326040" y="1132242"/>
                  <a:pt x="335891" y="1142093"/>
                  <a:pt x="335891" y="1154169"/>
                </a:cubicBezTo>
                <a:cubicBezTo>
                  <a:pt x="335891" y="1166244"/>
                  <a:pt x="326040" y="1176095"/>
                  <a:pt x="313964" y="1176095"/>
                </a:cubicBezTo>
                <a:close/>
                <a:moveTo>
                  <a:pt x="133784" y="1141458"/>
                </a:moveTo>
                <a:cubicBezTo>
                  <a:pt x="129971" y="1141458"/>
                  <a:pt x="125840" y="1140504"/>
                  <a:pt x="122344" y="1138280"/>
                </a:cubicBezTo>
                <a:cubicBezTo>
                  <a:pt x="116942" y="1135102"/>
                  <a:pt x="111858" y="1131606"/>
                  <a:pt x="106773" y="1128111"/>
                </a:cubicBezTo>
                <a:cubicBezTo>
                  <a:pt x="96922" y="1121120"/>
                  <a:pt x="94698" y="1107138"/>
                  <a:pt x="101689" y="1097286"/>
                </a:cubicBezTo>
                <a:cubicBezTo>
                  <a:pt x="108680" y="1087435"/>
                  <a:pt x="122662" y="1085211"/>
                  <a:pt x="132513" y="1092202"/>
                </a:cubicBezTo>
                <a:cubicBezTo>
                  <a:pt x="136644" y="1095062"/>
                  <a:pt x="141093" y="1097922"/>
                  <a:pt x="145224" y="1100782"/>
                </a:cubicBezTo>
                <a:cubicBezTo>
                  <a:pt x="155711" y="1107138"/>
                  <a:pt x="158889" y="1120802"/>
                  <a:pt x="152533" y="1131289"/>
                </a:cubicBezTo>
                <a:cubicBezTo>
                  <a:pt x="148402" y="1137644"/>
                  <a:pt x="141093" y="1141458"/>
                  <a:pt x="133784" y="1141458"/>
                </a:cubicBezTo>
                <a:close/>
                <a:moveTo>
                  <a:pt x="27964" y="993691"/>
                </a:moveTo>
                <a:cubicBezTo>
                  <a:pt x="17796" y="993691"/>
                  <a:pt x="8898" y="986700"/>
                  <a:pt x="6356" y="976531"/>
                </a:cubicBezTo>
                <a:cubicBezTo>
                  <a:pt x="5084" y="970493"/>
                  <a:pt x="3813" y="964455"/>
                  <a:pt x="2860" y="958418"/>
                </a:cubicBezTo>
                <a:cubicBezTo>
                  <a:pt x="953" y="946342"/>
                  <a:pt x="9216" y="935220"/>
                  <a:pt x="21291" y="933313"/>
                </a:cubicBezTo>
                <a:cubicBezTo>
                  <a:pt x="33367" y="931406"/>
                  <a:pt x="44489" y="939669"/>
                  <a:pt x="46396" y="951744"/>
                </a:cubicBezTo>
                <a:cubicBezTo>
                  <a:pt x="47031" y="956829"/>
                  <a:pt x="47984" y="961913"/>
                  <a:pt x="49256" y="966998"/>
                </a:cubicBezTo>
                <a:cubicBezTo>
                  <a:pt x="51798" y="978755"/>
                  <a:pt x="44489" y="990831"/>
                  <a:pt x="32731" y="993373"/>
                </a:cubicBezTo>
                <a:cubicBezTo>
                  <a:pt x="31142" y="993373"/>
                  <a:pt x="29553" y="993691"/>
                  <a:pt x="27964" y="993691"/>
                </a:cubicBezTo>
                <a:close/>
                <a:moveTo>
                  <a:pt x="21927" y="807473"/>
                </a:moveTo>
                <a:cubicBezTo>
                  <a:pt x="9851" y="807473"/>
                  <a:pt x="0" y="797622"/>
                  <a:pt x="0" y="785547"/>
                </a:cubicBezTo>
                <a:lnTo>
                  <a:pt x="0" y="768704"/>
                </a:lnTo>
                <a:cubicBezTo>
                  <a:pt x="0" y="756629"/>
                  <a:pt x="9851" y="746778"/>
                  <a:pt x="21927" y="746778"/>
                </a:cubicBezTo>
                <a:cubicBezTo>
                  <a:pt x="34002" y="746778"/>
                  <a:pt x="43853" y="756629"/>
                  <a:pt x="43853" y="768704"/>
                </a:cubicBezTo>
                <a:lnTo>
                  <a:pt x="43853" y="785547"/>
                </a:lnTo>
                <a:cubicBezTo>
                  <a:pt x="44171" y="797622"/>
                  <a:pt x="34320" y="807473"/>
                  <a:pt x="21927" y="807473"/>
                </a:cubicBezTo>
                <a:close/>
                <a:moveTo>
                  <a:pt x="21927" y="620620"/>
                </a:moveTo>
                <a:cubicBezTo>
                  <a:pt x="9851" y="620620"/>
                  <a:pt x="0" y="610769"/>
                  <a:pt x="0" y="598693"/>
                </a:cubicBezTo>
                <a:lnTo>
                  <a:pt x="0" y="581533"/>
                </a:lnTo>
                <a:cubicBezTo>
                  <a:pt x="0" y="569458"/>
                  <a:pt x="9851" y="559606"/>
                  <a:pt x="21927" y="559606"/>
                </a:cubicBezTo>
                <a:cubicBezTo>
                  <a:pt x="34002" y="559606"/>
                  <a:pt x="43853" y="569458"/>
                  <a:pt x="43853" y="581533"/>
                </a:cubicBezTo>
                <a:lnTo>
                  <a:pt x="43853" y="598375"/>
                </a:lnTo>
                <a:cubicBezTo>
                  <a:pt x="44171" y="610769"/>
                  <a:pt x="34320" y="620620"/>
                  <a:pt x="21927" y="620620"/>
                </a:cubicBezTo>
                <a:close/>
                <a:moveTo>
                  <a:pt x="21927" y="434084"/>
                </a:moveTo>
                <a:cubicBezTo>
                  <a:pt x="9851" y="434084"/>
                  <a:pt x="0" y="424233"/>
                  <a:pt x="0" y="412158"/>
                </a:cubicBezTo>
                <a:lnTo>
                  <a:pt x="0" y="395316"/>
                </a:lnTo>
                <a:cubicBezTo>
                  <a:pt x="0" y="383240"/>
                  <a:pt x="9851" y="373389"/>
                  <a:pt x="21927" y="373389"/>
                </a:cubicBezTo>
                <a:cubicBezTo>
                  <a:pt x="34002" y="373389"/>
                  <a:pt x="43853" y="383240"/>
                  <a:pt x="43853" y="395316"/>
                </a:cubicBezTo>
                <a:lnTo>
                  <a:pt x="43853" y="412158"/>
                </a:lnTo>
                <a:cubicBezTo>
                  <a:pt x="44171" y="424233"/>
                  <a:pt x="34320" y="434084"/>
                  <a:pt x="21927" y="434084"/>
                </a:cubicBezTo>
                <a:close/>
                <a:moveTo>
                  <a:pt x="21927" y="247231"/>
                </a:moveTo>
                <a:cubicBezTo>
                  <a:pt x="9851" y="247231"/>
                  <a:pt x="0" y="237380"/>
                  <a:pt x="0" y="225304"/>
                </a:cubicBezTo>
                <a:lnTo>
                  <a:pt x="0" y="208462"/>
                </a:lnTo>
                <a:cubicBezTo>
                  <a:pt x="0" y="196387"/>
                  <a:pt x="9851" y="186536"/>
                  <a:pt x="21927" y="186536"/>
                </a:cubicBezTo>
                <a:cubicBezTo>
                  <a:pt x="34002" y="186536"/>
                  <a:pt x="43853" y="196387"/>
                  <a:pt x="43853" y="208462"/>
                </a:cubicBezTo>
                <a:lnTo>
                  <a:pt x="43853" y="225304"/>
                </a:lnTo>
                <a:cubicBezTo>
                  <a:pt x="44171" y="237380"/>
                  <a:pt x="34320" y="247231"/>
                  <a:pt x="21927" y="247231"/>
                </a:cubicBezTo>
                <a:close/>
                <a:moveTo>
                  <a:pt x="21927" y="60696"/>
                </a:moveTo>
                <a:cubicBezTo>
                  <a:pt x="9851" y="60696"/>
                  <a:pt x="0" y="50844"/>
                  <a:pt x="0" y="38769"/>
                </a:cubicBezTo>
                <a:lnTo>
                  <a:pt x="0" y="21927"/>
                </a:lnTo>
                <a:cubicBezTo>
                  <a:pt x="0" y="9851"/>
                  <a:pt x="9851" y="0"/>
                  <a:pt x="21927" y="0"/>
                </a:cubicBezTo>
                <a:cubicBezTo>
                  <a:pt x="34002" y="0"/>
                  <a:pt x="43853" y="9851"/>
                  <a:pt x="43853" y="21927"/>
                </a:cubicBezTo>
                <a:lnTo>
                  <a:pt x="43853" y="38769"/>
                </a:lnTo>
                <a:cubicBezTo>
                  <a:pt x="44171" y="50844"/>
                  <a:pt x="34320" y="60696"/>
                  <a:pt x="21927" y="60696"/>
                </a:cubicBezTo>
                <a:close/>
              </a:path>
            </a:pathLst>
          </a:custGeom>
          <a:solidFill>
            <a:srgbClr val="002060"/>
          </a:solidFill>
          <a:ln w="317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35FB152F-5E5D-F1A4-E42F-AC6790A8677B}"/>
              </a:ext>
            </a:extLst>
          </p:cNvPr>
          <p:cNvSpPr/>
          <p:nvPr/>
        </p:nvSpPr>
        <p:spPr>
          <a:xfrm>
            <a:off x="637832" y="861535"/>
            <a:ext cx="1248919" cy="1249079"/>
          </a:xfrm>
          <a:custGeom>
            <a:avLst/>
            <a:gdLst>
              <a:gd name="connsiteX0" fmla="*/ 2236202 w 2491377"/>
              <a:gd name="connsiteY0" fmla="*/ 2491695 h 2491694"/>
              <a:gd name="connsiteX1" fmla="*/ 1245689 w 2491377"/>
              <a:gd name="connsiteY1" fmla="*/ 2491695 h 2491694"/>
              <a:gd name="connsiteX2" fmla="*/ 1225351 w 2491377"/>
              <a:gd name="connsiteY2" fmla="*/ 2471357 h 2491694"/>
              <a:gd name="connsiteX3" fmla="*/ 1245689 w 2491377"/>
              <a:gd name="connsiteY3" fmla="*/ 2451020 h 2491694"/>
              <a:gd name="connsiteX4" fmla="*/ 2236520 w 2491377"/>
              <a:gd name="connsiteY4" fmla="*/ 2451020 h 2491694"/>
              <a:gd name="connsiteX5" fmla="*/ 2450702 w 2491377"/>
              <a:gd name="connsiteY5" fmla="*/ 2236837 h 2491694"/>
              <a:gd name="connsiteX6" fmla="*/ 2450702 w 2491377"/>
              <a:gd name="connsiteY6" fmla="*/ 255176 h 2491694"/>
              <a:gd name="connsiteX7" fmla="*/ 2236520 w 2491377"/>
              <a:gd name="connsiteY7" fmla="*/ 40993 h 2491694"/>
              <a:gd name="connsiteX8" fmla="*/ 254858 w 2491377"/>
              <a:gd name="connsiteY8" fmla="*/ 40993 h 2491694"/>
              <a:gd name="connsiteX9" fmla="*/ 40676 w 2491377"/>
              <a:gd name="connsiteY9" fmla="*/ 255176 h 2491694"/>
              <a:gd name="connsiteX10" fmla="*/ 40676 w 2491377"/>
              <a:gd name="connsiteY10" fmla="*/ 1246006 h 2491694"/>
              <a:gd name="connsiteX11" fmla="*/ 20338 w 2491377"/>
              <a:gd name="connsiteY11" fmla="*/ 1266344 h 2491694"/>
              <a:gd name="connsiteX12" fmla="*/ 0 w 2491377"/>
              <a:gd name="connsiteY12" fmla="*/ 1246006 h 2491694"/>
              <a:gd name="connsiteX13" fmla="*/ 0 w 2491377"/>
              <a:gd name="connsiteY13" fmla="*/ 255176 h 2491694"/>
              <a:gd name="connsiteX14" fmla="*/ 254858 w 2491377"/>
              <a:gd name="connsiteY14" fmla="*/ 0 h 2491694"/>
              <a:gd name="connsiteX15" fmla="*/ 2236202 w 2491377"/>
              <a:gd name="connsiteY15" fmla="*/ 0 h 2491694"/>
              <a:gd name="connsiteX16" fmla="*/ 2491378 w 2491377"/>
              <a:gd name="connsiteY16" fmla="*/ 255176 h 2491694"/>
              <a:gd name="connsiteX17" fmla="*/ 2491378 w 2491377"/>
              <a:gd name="connsiteY17" fmla="*/ 2236520 h 2491694"/>
              <a:gd name="connsiteX18" fmla="*/ 2236202 w 2491377"/>
              <a:gd name="connsiteY18" fmla="*/ 2491695 h 2491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491377" h="2491694">
                <a:moveTo>
                  <a:pt x="2236202" y="2491695"/>
                </a:moveTo>
                <a:lnTo>
                  <a:pt x="1245689" y="2491695"/>
                </a:lnTo>
                <a:cubicBezTo>
                  <a:pt x="1234567" y="2491695"/>
                  <a:pt x="1225351" y="2482480"/>
                  <a:pt x="1225351" y="2471357"/>
                </a:cubicBezTo>
                <a:cubicBezTo>
                  <a:pt x="1225351" y="2460235"/>
                  <a:pt x="1234567" y="2451020"/>
                  <a:pt x="1245689" y="2451020"/>
                </a:cubicBezTo>
                <a:lnTo>
                  <a:pt x="2236520" y="2451020"/>
                </a:lnTo>
                <a:cubicBezTo>
                  <a:pt x="2354733" y="2451020"/>
                  <a:pt x="2450702" y="2355051"/>
                  <a:pt x="2450702" y="2236837"/>
                </a:cubicBezTo>
                <a:lnTo>
                  <a:pt x="2450702" y="255176"/>
                </a:lnTo>
                <a:cubicBezTo>
                  <a:pt x="2450702" y="136962"/>
                  <a:pt x="2354733" y="40993"/>
                  <a:pt x="2236520" y="40993"/>
                </a:cubicBezTo>
                <a:lnTo>
                  <a:pt x="254858" y="40993"/>
                </a:lnTo>
                <a:cubicBezTo>
                  <a:pt x="136644" y="40993"/>
                  <a:pt x="40676" y="136962"/>
                  <a:pt x="40676" y="255176"/>
                </a:cubicBezTo>
                <a:lnTo>
                  <a:pt x="40676" y="1246006"/>
                </a:lnTo>
                <a:cubicBezTo>
                  <a:pt x="40676" y="1257129"/>
                  <a:pt x="31460" y="1266344"/>
                  <a:pt x="20338" y="1266344"/>
                </a:cubicBezTo>
                <a:cubicBezTo>
                  <a:pt x="9216" y="1266344"/>
                  <a:pt x="0" y="1257129"/>
                  <a:pt x="0" y="1246006"/>
                </a:cubicBezTo>
                <a:lnTo>
                  <a:pt x="0" y="255176"/>
                </a:lnTo>
                <a:cubicBezTo>
                  <a:pt x="0" y="114400"/>
                  <a:pt x="114400" y="0"/>
                  <a:pt x="254858" y="0"/>
                </a:cubicBezTo>
                <a:lnTo>
                  <a:pt x="2236202" y="0"/>
                </a:lnTo>
                <a:cubicBezTo>
                  <a:pt x="2376978" y="0"/>
                  <a:pt x="2491378" y="114400"/>
                  <a:pt x="2491378" y="255176"/>
                </a:cubicBezTo>
                <a:lnTo>
                  <a:pt x="2491378" y="2236520"/>
                </a:lnTo>
                <a:cubicBezTo>
                  <a:pt x="2491378" y="2377295"/>
                  <a:pt x="2376978" y="2491695"/>
                  <a:pt x="2236202" y="2491695"/>
                </a:cubicBezTo>
                <a:close/>
              </a:path>
            </a:pathLst>
          </a:custGeom>
          <a:solidFill>
            <a:srgbClr val="002060"/>
          </a:solidFill>
          <a:ln w="317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9249AC0D-8538-CF05-B98C-A77A247752AB}"/>
              </a:ext>
            </a:extLst>
          </p:cNvPr>
          <p:cNvSpPr/>
          <p:nvPr/>
        </p:nvSpPr>
        <p:spPr>
          <a:xfrm>
            <a:off x="2943544" y="962739"/>
            <a:ext cx="1048669" cy="1048535"/>
          </a:xfrm>
          <a:custGeom>
            <a:avLst/>
            <a:gdLst>
              <a:gd name="connsiteX0" fmla="*/ 1871075 w 2090660"/>
              <a:gd name="connsiteY0" fmla="*/ 2090660 h 2090659"/>
              <a:gd name="connsiteX1" fmla="*/ 219584 w 2090660"/>
              <a:gd name="connsiteY1" fmla="*/ 2090660 h 2090659"/>
              <a:gd name="connsiteX2" fmla="*/ 0 w 2090660"/>
              <a:gd name="connsiteY2" fmla="*/ 1871075 h 2090659"/>
              <a:gd name="connsiteX3" fmla="*/ 0 w 2090660"/>
              <a:gd name="connsiteY3" fmla="*/ 219584 h 2090659"/>
              <a:gd name="connsiteX4" fmla="*/ 219584 w 2090660"/>
              <a:gd name="connsiteY4" fmla="*/ 0 h 2090659"/>
              <a:gd name="connsiteX5" fmla="*/ 1871075 w 2090660"/>
              <a:gd name="connsiteY5" fmla="*/ 0 h 2090659"/>
              <a:gd name="connsiteX6" fmla="*/ 2090660 w 2090660"/>
              <a:gd name="connsiteY6" fmla="*/ 219584 h 2090659"/>
              <a:gd name="connsiteX7" fmla="*/ 2090660 w 2090660"/>
              <a:gd name="connsiteY7" fmla="*/ 1871075 h 2090659"/>
              <a:gd name="connsiteX8" fmla="*/ 1871075 w 2090660"/>
              <a:gd name="connsiteY8" fmla="*/ 2090660 h 2090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90660" h="2090659">
                <a:moveTo>
                  <a:pt x="1871075" y="2090660"/>
                </a:moveTo>
                <a:lnTo>
                  <a:pt x="219584" y="2090660"/>
                </a:lnTo>
                <a:cubicBezTo>
                  <a:pt x="98193" y="2090660"/>
                  <a:pt x="0" y="1992149"/>
                  <a:pt x="0" y="1871075"/>
                </a:cubicBezTo>
                <a:lnTo>
                  <a:pt x="0" y="219584"/>
                </a:lnTo>
                <a:cubicBezTo>
                  <a:pt x="0" y="98193"/>
                  <a:pt x="98511" y="0"/>
                  <a:pt x="219584" y="0"/>
                </a:cubicBezTo>
                <a:lnTo>
                  <a:pt x="1871075" y="0"/>
                </a:lnTo>
                <a:cubicBezTo>
                  <a:pt x="1992467" y="0"/>
                  <a:pt x="2090660" y="98511"/>
                  <a:pt x="2090660" y="219584"/>
                </a:cubicBezTo>
                <a:lnTo>
                  <a:pt x="2090660" y="1871075"/>
                </a:lnTo>
                <a:cubicBezTo>
                  <a:pt x="2090660" y="1992466"/>
                  <a:pt x="1992149" y="2090660"/>
                  <a:pt x="1871075" y="2090660"/>
                </a:cubicBezTo>
                <a:close/>
              </a:path>
            </a:pathLst>
          </a:custGeom>
          <a:solidFill>
            <a:schemeClr val="bg1"/>
          </a:solidFill>
          <a:ln w="3178" cap="flat">
            <a:noFill/>
            <a:prstDash val="solid"/>
            <a:miter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EC3A8A05-9C5B-D278-27C4-5D914EDC3B3D}"/>
              </a:ext>
            </a:extLst>
          </p:cNvPr>
          <p:cNvSpPr/>
          <p:nvPr/>
        </p:nvSpPr>
        <p:spPr>
          <a:xfrm>
            <a:off x="2842167" y="861535"/>
            <a:ext cx="590085" cy="636548"/>
          </a:xfrm>
          <a:custGeom>
            <a:avLst/>
            <a:gdLst>
              <a:gd name="connsiteX0" fmla="*/ 21927 w 1176413"/>
              <a:gd name="connsiteY0" fmla="*/ 1269204 h 1269204"/>
              <a:gd name="connsiteX1" fmla="*/ 0 w 1176413"/>
              <a:gd name="connsiteY1" fmla="*/ 1247278 h 1269204"/>
              <a:gd name="connsiteX2" fmla="*/ 0 w 1176413"/>
              <a:gd name="connsiteY2" fmla="*/ 1230435 h 1269204"/>
              <a:gd name="connsiteX3" fmla="*/ 21927 w 1176413"/>
              <a:gd name="connsiteY3" fmla="*/ 1208509 h 1269204"/>
              <a:gd name="connsiteX4" fmla="*/ 43853 w 1176413"/>
              <a:gd name="connsiteY4" fmla="*/ 1230435 h 1269204"/>
              <a:gd name="connsiteX5" fmla="*/ 43853 w 1176413"/>
              <a:gd name="connsiteY5" fmla="*/ 1247278 h 1269204"/>
              <a:gd name="connsiteX6" fmla="*/ 21927 w 1176413"/>
              <a:gd name="connsiteY6" fmla="*/ 1269204 h 1269204"/>
              <a:gd name="connsiteX7" fmla="*/ 21927 w 1176413"/>
              <a:gd name="connsiteY7" fmla="*/ 1082351 h 1269204"/>
              <a:gd name="connsiteX8" fmla="*/ 0 w 1176413"/>
              <a:gd name="connsiteY8" fmla="*/ 1060424 h 1269204"/>
              <a:gd name="connsiteX9" fmla="*/ 0 w 1176413"/>
              <a:gd name="connsiteY9" fmla="*/ 1043582 h 1269204"/>
              <a:gd name="connsiteX10" fmla="*/ 21927 w 1176413"/>
              <a:gd name="connsiteY10" fmla="*/ 1021655 h 1269204"/>
              <a:gd name="connsiteX11" fmla="*/ 43853 w 1176413"/>
              <a:gd name="connsiteY11" fmla="*/ 1043582 h 1269204"/>
              <a:gd name="connsiteX12" fmla="*/ 43853 w 1176413"/>
              <a:gd name="connsiteY12" fmla="*/ 1060424 h 1269204"/>
              <a:gd name="connsiteX13" fmla="*/ 21927 w 1176413"/>
              <a:gd name="connsiteY13" fmla="*/ 1082351 h 1269204"/>
              <a:gd name="connsiteX14" fmla="*/ 21927 w 1176413"/>
              <a:gd name="connsiteY14" fmla="*/ 895815 h 1269204"/>
              <a:gd name="connsiteX15" fmla="*/ 0 w 1176413"/>
              <a:gd name="connsiteY15" fmla="*/ 873889 h 1269204"/>
              <a:gd name="connsiteX16" fmla="*/ 0 w 1176413"/>
              <a:gd name="connsiteY16" fmla="*/ 857046 h 1269204"/>
              <a:gd name="connsiteX17" fmla="*/ 21927 w 1176413"/>
              <a:gd name="connsiteY17" fmla="*/ 835120 h 1269204"/>
              <a:gd name="connsiteX18" fmla="*/ 43853 w 1176413"/>
              <a:gd name="connsiteY18" fmla="*/ 857046 h 1269204"/>
              <a:gd name="connsiteX19" fmla="*/ 43853 w 1176413"/>
              <a:gd name="connsiteY19" fmla="*/ 873889 h 1269204"/>
              <a:gd name="connsiteX20" fmla="*/ 21927 w 1176413"/>
              <a:gd name="connsiteY20" fmla="*/ 895815 h 1269204"/>
              <a:gd name="connsiteX21" fmla="*/ 21927 w 1176413"/>
              <a:gd name="connsiteY21" fmla="*/ 708962 h 1269204"/>
              <a:gd name="connsiteX22" fmla="*/ 0 w 1176413"/>
              <a:gd name="connsiteY22" fmla="*/ 687035 h 1269204"/>
              <a:gd name="connsiteX23" fmla="*/ 0 w 1176413"/>
              <a:gd name="connsiteY23" fmla="*/ 670193 h 1269204"/>
              <a:gd name="connsiteX24" fmla="*/ 21927 w 1176413"/>
              <a:gd name="connsiteY24" fmla="*/ 648267 h 1269204"/>
              <a:gd name="connsiteX25" fmla="*/ 43853 w 1176413"/>
              <a:gd name="connsiteY25" fmla="*/ 670193 h 1269204"/>
              <a:gd name="connsiteX26" fmla="*/ 43853 w 1176413"/>
              <a:gd name="connsiteY26" fmla="*/ 687035 h 1269204"/>
              <a:gd name="connsiteX27" fmla="*/ 21927 w 1176413"/>
              <a:gd name="connsiteY27" fmla="*/ 708962 h 1269204"/>
              <a:gd name="connsiteX28" fmla="*/ 21927 w 1176413"/>
              <a:gd name="connsiteY28" fmla="*/ 522427 h 1269204"/>
              <a:gd name="connsiteX29" fmla="*/ 0 w 1176413"/>
              <a:gd name="connsiteY29" fmla="*/ 500500 h 1269204"/>
              <a:gd name="connsiteX30" fmla="*/ 0 w 1176413"/>
              <a:gd name="connsiteY30" fmla="*/ 483658 h 1269204"/>
              <a:gd name="connsiteX31" fmla="*/ 21927 w 1176413"/>
              <a:gd name="connsiteY31" fmla="*/ 461731 h 1269204"/>
              <a:gd name="connsiteX32" fmla="*/ 43853 w 1176413"/>
              <a:gd name="connsiteY32" fmla="*/ 483658 h 1269204"/>
              <a:gd name="connsiteX33" fmla="*/ 43853 w 1176413"/>
              <a:gd name="connsiteY33" fmla="*/ 500500 h 1269204"/>
              <a:gd name="connsiteX34" fmla="*/ 21927 w 1176413"/>
              <a:gd name="connsiteY34" fmla="*/ 522427 h 1269204"/>
              <a:gd name="connsiteX35" fmla="*/ 21927 w 1176413"/>
              <a:gd name="connsiteY35" fmla="*/ 335573 h 1269204"/>
              <a:gd name="connsiteX36" fmla="*/ 0 w 1176413"/>
              <a:gd name="connsiteY36" fmla="*/ 313647 h 1269204"/>
              <a:gd name="connsiteX37" fmla="*/ 0 w 1176413"/>
              <a:gd name="connsiteY37" fmla="*/ 296804 h 1269204"/>
              <a:gd name="connsiteX38" fmla="*/ 21927 w 1176413"/>
              <a:gd name="connsiteY38" fmla="*/ 274878 h 1269204"/>
              <a:gd name="connsiteX39" fmla="*/ 43853 w 1176413"/>
              <a:gd name="connsiteY39" fmla="*/ 296804 h 1269204"/>
              <a:gd name="connsiteX40" fmla="*/ 43853 w 1176413"/>
              <a:gd name="connsiteY40" fmla="*/ 313647 h 1269204"/>
              <a:gd name="connsiteX41" fmla="*/ 21927 w 1176413"/>
              <a:gd name="connsiteY41" fmla="*/ 335573 h 1269204"/>
              <a:gd name="connsiteX42" fmla="*/ 56564 w 1176413"/>
              <a:gd name="connsiteY42" fmla="*/ 155393 h 1269204"/>
              <a:gd name="connsiteX43" fmla="*/ 45124 w 1176413"/>
              <a:gd name="connsiteY43" fmla="*/ 152216 h 1269204"/>
              <a:gd name="connsiteX44" fmla="*/ 37816 w 1176413"/>
              <a:gd name="connsiteY44" fmla="*/ 121709 h 1269204"/>
              <a:gd name="connsiteX45" fmla="*/ 47985 w 1176413"/>
              <a:gd name="connsiteY45" fmla="*/ 106138 h 1269204"/>
              <a:gd name="connsiteX46" fmla="*/ 78809 w 1176413"/>
              <a:gd name="connsiteY46" fmla="*/ 101053 h 1269204"/>
              <a:gd name="connsiteX47" fmla="*/ 83893 w 1176413"/>
              <a:gd name="connsiteY47" fmla="*/ 131878 h 1269204"/>
              <a:gd name="connsiteX48" fmla="*/ 75313 w 1176413"/>
              <a:gd name="connsiteY48" fmla="*/ 144589 h 1269204"/>
              <a:gd name="connsiteX49" fmla="*/ 56564 w 1176413"/>
              <a:gd name="connsiteY49" fmla="*/ 155393 h 1269204"/>
              <a:gd name="connsiteX50" fmla="*/ 204331 w 1176413"/>
              <a:gd name="connsiteY50" fmla="*/ 49573 h 1269204"/>
              <a:gd name="connsiteX51" fmla="*/ 182722 w 1176413"/>
              <a:gd name="connsiteY51" fmla="*/ 32413 h 1269204"/>
              <a:gd name="connsiteX52" fmla="*/ 199247 w 1176413"/>
              <a:gd name="connsiteY52" fmla="*/ 6038 h 1269204"/>
              <a:gd name="connsiteX53" fmla="*/ 217360 w 1176413"/>
              <a:gd name="connsiteY53" fmla="*/ 2542 h 1269204"/>
              <a:gd name="connsiteX54" fmla="*/ 242464 w 1176413"/>
              <a:gd name="connsiteY54" fmla="*/ 20973 h 1269204"/>
              <a:gd name="connsiteX55" fmla="*/ 224033 w 1176413"/>
              <a:gd name="connsiteY55" fmla="*/ 46078 h 1269204"/>
              <a:gd name="connsiteX56" fmla="*/ 209098 w 1176413"/>
              <a:gd name="connsiteY56" fmla="*/ 48938 h 1269204"/>
              <a:gd name="connsiteX57" fmla="*/ 204331 w 1176413"/>
              <a:gd name="connsiteY57" fmla="*/ 49573 h 1269204"/>
              <a:gd name="connsiteX58" fmla="*/ 1154487 w 1176413"/>
              <a:gd name="connsiteY58" fmla="*/ 43853 h 1269204"/>
              <a:gd name="connsiteX59" fmla="*/ 1137645 w 1176413"/>
              <a:gd name="connsiteY59" fmla="*/ 43853 h 1269204"/>
              <a:gd name="connsiteX60" fmla="*/ 1115718 w 1176413"/>
              <a:gd name="connsiteY60" fmla="*/ 21927 h 1269204"/>
              <a:gd name="connsiteX61" fmla="*/ 1137645 w 1176413"/>
              <a:gd name="connsiteY61" fmla="*/ 0 h 1269204"/>
              <a:gd name="connsiteX62" fmla="*/ 1154487 w 1176413"/>
              <a:gd name="connsiteY62" fmla="*/ 0 h 1269204"/>
              <a:gd name="connsiteX63" fmla="*/ 1176413 w 1176413"/>
              <a:gd name="connsiteY63" fmla="*/ 21927 h 1269204"/>
              <a:gd name="connsiteX64" fmla="*/ 1154487 w 1176413"/>
              <a:gd name="connsiteY64" fmla="*/ 43853 h 1269204"/>
              <a:gd name="connsiteX65" fmla="*/ 967634 w 1176413"/>
              <a:gd name="connsiteY65" fmla="*/ 43853 h 1269204"/>
              <a:gd name="connsiteX66" fmla="*/ 950791 w 1176413"/>
              <a:gd name="connsiteY66" fmla="*/ 43853 h 1269204"/>
              <a:gd name="connsiteX67" fmla="*/ 928864 w 1176413"/>
              <a:gd name="connsiteY67" fmla="*/ 21927 h 1269204"/>
              <a:gd name="connsiteX68" fmla="*/ 950791 w 1176413"/>
              <a:gd name="connsiteY68" fmla="*/ 0 h 1269204"/>
              <a:gd name="connsiteX69" fmla="*/ 967634 w 1176413"/>
              <a:gd name="connsiteY69" fmla="*/ 0 h 1269204"/>
              <a:gd name="connsiteX70" fmla="*/ 989560 w 1176413"/>
              <a:gd name="connsiteY70" fmla="*/ 21927 h 1269204"/>
              <a:gd name="connsiteX71" fmla="*/ 967634 w 1176413"/>
              <a:gd name="connsiteY71" fmla="*/ 43853 h 1269204"/>
              <a:gd name="connsiteX72" fmla="*/ 781098 w 1176413"/>
              <a:gd name="connsiteY72" fmla="*/ 43853 h 1269204"/>
              <a:gd name="connsiteX73" fmla="*/ 764256 w 1176413"/>
              <a:gd name="connsiteY73" fmla="*/ 43853 h 1269204"/>
              <a:gd name="connsiteX74" fmla="*/ 742329 w 1176413"/>
              <a:gd name="connsiteY74" fmla="*/ 21927 h 1269204"/>
              <a:gd name="connsiteX75" fmla="*/ 764256 w 1176413"/>
              <a:gd name="connsiteY75" fmla="*/ 0 h 1269204"/>
              <a:gd name="connsiteX76" fmla="*/ 781098 w 1176413"/>
              <a:gd name="connsiteY76" fmla="*/ 0 h 1269204"/>
              <a:gd name="connsiteX77" fmla="*/ 803025 w 1176413"/>
              <a:gd name="connsiteY77" fmla="*/ 21927 h 1269204"/>
              <a:gd name="connsiteX78" fmla="*/ 781098 w 1176413"/>
              <a:gd name="connsiteY78" fmla="*/ 43853 h 1269204"/>
              <a:gd name="connsiteX79" fmla="*/ 594245 w 1176413"/>
              <a:gd name="connsiteY79" fmla="*/ 43853 h 1269204"/>
              <a:gd name="connsiteX80" fmla="*/ 577402 w 1176413"/>
              <a:gd name="connsiteY80" fmla="*/ 43853 h 1269204"/>
              <a:gd name="connsiteX81" fmla="*/ 555476 w 1176413"/>
              <a:gd name="connsiteY81" fmla="*/ 21927 h 1269204"/>
              <a:gd name="connsiteX82" fmla="*/ 577402 w 1176413"/>
              <a:gd name="connsiteY82" fmla="*/ 0 h 1269204"/>
              <a:gd name="connsiteX83" fmla="*/ 594245 w 1176413"/>
              <a:gd name="connsiteY83" fmla="*/ 0 h 1269204"/>
              <a:gd name="connsiteX84" fmla="*/ 616171 w 1176413"/>
              <a:gd name="connsiteY84" fmla="*/ 21927 h 1269204"/>
              <a:gd name="connsiteX85" fmla="*/ 594245 w 1176413"/>
              <a:gd name="connsiteY85" fmla="*/ 43853 h 1269204"/>
              <a:gd name="connsiteX86" fmla="*/ 407709 w 1176413"/>
              <a:gd name="connsiteY86" fmla="*/ 43853 h 1269204"/>
              <a:gd name="connsiteX87" fmla="*/ 390867 w 1176413"/>
              <a:gd name="connsiteY87" fmla="*/ 43853 h 1269204"/>
              <a:gd name="connsiteX88" fmla="*/ 368940 w 1176413"/>
              <a:gd name="connsiteY88" fmla="*/ 21927 h 1269204"/>
              <a:gd name="connsiteX89" fmla="*/ 390867 w 1176413"/>
              <a:gd name="connsiteY89" fmla="*/ 0 h 1269204"/>
              <a:gd name="connsiteX90" fmla="*/ 407709 w 1176413"/>
              <a:gd name="connsiteY90" fmla="*/ 0 h 1269204"/>
              <a:gd name="connsiteX91" fmla="*/ 429636 w 1176413"/>
              <a:gd name="connsiteY91" fmla="*/ 21927 h 1269204"/>
              <a:gd name="connsiteX92" fmla="*/ 407709 w 1176413"/>
              <a:gd name="connsiteY92" fmla="*/ 43853 h 12692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</a:cxnLst>
            <a:rect l="l" t="t" r="r" b="b"/>
            <a:pathLst>
              <a:path w="1176413" h="1269204">
                <a:moveTo>
                  <a:pt x="21927" y="1269204"/>
                </a:moveTo>
                <a:cubicBezTo>
                  <a:pt x="9851" y="1269204"/>
                  <a:pt x="0" y="1259353"/>
                  <a:pt x="0" y="1247278"/>
                </a:cubicBezTo>
                <a:lnTo>
                  <a:pt x="0" y="1230435"/>
                </a:lnTo>
                <a:cubicBezTo>
                  <a:pt x="0" y="1218360"/>
                  <a:pt x="9851" y="1208509"/>
                  <a:pt x="21927" y="1208509"/>
                </a:cubicBezTo>
                <a:cubicBezTo>
                  <a:pt x="34002" y="1208509"/>
                  <a:pt x="43853" y="1218360"/>
                  <a:pt x="43853" y="1230435"/>
                </a:cubicBezTo>
                <a:lnTo>
                  <a:pt x="43853" y="1247278"/>
                </a:lnTo>
                <a:cubicBezTo>
                  <a:pt x="43853" y="1259353"/>
                  <a:pt x="34002" y="1269204"/>
                  <a:pt x="21927" y="1269204"/>
                </a:cubicBezTo>
                <a:close/>
                <a:moveTo>
                  <a:pt x="21927" y="1082351"/>
                </a:moveTo>
                <a:cubicBezTo>
                  <a:pt x="9851" y="1082351"/>
                  <a:pt x="0" y="1072500"/>
                  <a:pt x="0" y="1060424"/>
                </a:cubicBezTo>
                <a:lnTo>
                  <a:pt x="0" y="1043582"/>
                </a:lnTo>
                <a:cubicBezTo>
                  <a:pt x="0" y="1031507"/>
                  <a:pt x="9851" y="1021655"/>
                  <a:pt x="21927" y="1021655"/>
                </a:cubicBezTo>
                <a:cubicBezTo>
                  <a:pt x="34002" y="1021655"/>
                  <a:pt x="43853" y="1031507"/>
                  <a:pt x="43853" y="1043582"/>
                </a:cubicBezTo>
                <a:lnTo>
                  <a:pt x="43853" y="1060424"/>
                </a:lnTo>
                <a:cubicBezTo>
                  <a:pt x="43853" y="1072500"/>
                  <a:pt x="34002" y="1082351"/>
                  <a:pt x="21927" y="1082351"/>
                </a:cubicBezTo>
                <a:close/>
                <a:moveTo>
                  <a:pt x="21927" y="895815"/>
                </a:moveTo>
                <a:cubicBezTo>
                  <a:pt x="9851" y="895815"/>
                  <a:pt x="0" y="885964"/>
                  <a:pt x="0" y="873889"/>
                </a:cubicBezTo>
                <a:lnTo>
                  <a:pt x="0" y="857046"/>
                </a:lnTo>
                <a:cubicBezTo>
                  <a:pt x="0" y="844971"/>
                  <a:pt x="9851" y="835120"/>
                  <a:pt x="21927" y="835120"/>
                </a:cubicBezTo>
                <a:cubicBezTo>
                  <a:pt x="34002" y="835120"/>
                  <a:pt x="43853" y="844971"/>
                  <a:pt x="43853" y="857046"/>
                </a:cubicBezTo>
                <a:lnTo>
                  <a:pt x="43853" y="873889"/>
                </a:lnTo>
                <a:cubicBezTo>
                  <a:pt x="43853" y="885964"/>
                  <a:pt x="34002" y="895815"/>
                  <a:pt x="21927" y="895815"/>
                </a:cubicBezTo>
                <a:close/>
                <a:moveTo>
                  <a:pt x="21927" y="708962"/>
                </a:moveTo>
                <a:cubicBezTo>
                  <a:pt x="9851" y="708962"/>
                  <a:pt x="0" y="699111"/>
                  <a:pt x="0" y="687035"/>
                </a:cubicBezTo>
                <a:lnTo>
                  <a:pt x="0" y="670193"/>
                </a:lnTo>
                <a:cubicBezTo>
                  <a:pt x="0" y="658118"/>
                  <a:pt x="9851" y="648267"/>
                  <a:pt x="21927" y="648267"/>
                </a:cubicBezTo>
                <a:cubicBezTo>
                  <a:pt x="34002" y="648267"/>
                  <a:pt x="43853" y="658118"/>
                  <a:pt x="43853" y="670193"/>
                </a:cubicBezTo>
                <a:lnTo>
                  <a:pt x="43853" y="687035"/>
                </a:lnTo>
                <a:cubicBezTo>
                  <a:pt x="43853" y="699111"/>
                  <a:pt x="34002" y="708962"/>
                  <a:pt x="21927" y="708962"/>
                </a:cubicBezTo>
                <a:close/>
                <a:moveTo>
                  <a:pt x="21927" y="522427"/>
                </a:moveTo>
                <a:cubicBezTo>
                  <a:pt x="9851" y="522427"/>
                  <a:pt x="0" y="512575"/>
                  <a:pt x="0" y="500500"/>
                </a:cubicBezTo>
                <a:lnTo>
                  <a:pt x="0" y="483658"/>
                </a:lnTo>
                <a:cubicBezTo>
                  <a:pt x="0" y="471582"/>
                  <a:pt x="9851" y="461731"/>
                  <a:pt x="21927" y="461731"/>
                </a:cubicBezTo>
                <a:cubicBezTo>
                  <a:pt x="34002" y="461731"/>
                  <a:pt x="43853" y="471582"/>
                  <a:pt x="43853" y="483658"/>
                </a:cubicBezTo>
                <a:lnTo>
                  <a:pt x="43853" y="500500"/>
                </a:lnTo>
                <a:cubicBezTo>
                  <a:pt x="43853" y="512575"/>
                  <a:pt x="34002" y="522427"/>
                  <a:pt x="21927" y="522427"/>
                </a:cubicBezTo>
                <a:close/>
                <a:moveTo>
                  <a:pt x="21927" y="335573"/>
                </a:moveTo>
                <a:cubicBezTo>
                  <a:pt x="9851" y="335573"/>
                  <a:pt x="0" y="325722"/>
                  <a:pt x="0" y="313647"/>
                </a:cubicBezTo>
                <a:lnTo>
                  <a:pt x="0" y="296804"/>
                </a:lnTo>
                <a:cubicBezTo>
                  <a:pt x="0" y="284729"/>
                  <a:pt x="9851" y="274878"/>
                  <a:pt x="21927" y="274878"/>
                </a:cubicBezTo>
                <a:cubicBezTo>
                  <a:pt x="34002" y="274878"/>
                  <a:pt x="43853" y="284729"/>
                  <a:pt x="43853" y="296804"/>
                </a:cubicBezTo>
                <a:lnTo>
                  <a:pt x="43853" y="313647"/>
                </a:lnTo>
                <a:cubicBezTo>
                  <a:pt x="43853" y="325722"/>
                  <a:pt x="34002" y="335573"/>
                  <a:pt x="21927" y="335573"/>
                </a:cubicBezTo>
                <a:close/>
                <a:moveTo>
                  <a:pt x="56564" y="155393"/>
                </a:moveTo>
                <a:cubicBezTo>
                  <a:pt x="52751" y="155393"/>
                  <a:pt x="48620" y="154440"/>
                  <a:pt x="45124" y="152216"/>
                </a:cubicBezTo>
                <a:cubicBezTo>
                  <a:pt x="34638" y="145860"/>
                  <a:pt x="31460" y="132196"/>
                  <a:pt x="37816" y="121709"/>
                </a:cubicBezTo>
                <a:cubicBezTo>
                  <a:pt x="40993" y="116307"/>
                  <a:pt x="44489" y="111222"/>
                  <a:pt x="47985" y="106138"/>
                </a:cubicBezTo>
                <a:cubicBezTo>
                  <a:pt x="54976" y="96287"/>
                  <a:pt x="68958" y="94062"/>
                  <a:pt x="78809" y="101053"/>
                </a:cubicBezTo>
                <a:cubicBezTo>
                  <a:pt x="88660" y="108044"/>
                  <a:pt x="90885" y="122027"/>
                  <a:pt x="83893" y="131878"/>
                </a:cubicBezTo>
                <a:cubicBezTo>
                  <a:pt x="81033" y="136009"/>
                  <a:pt x="78173" y="140458"/>
                  <a:pt x="75313" y="144589"/>
                </a:cubicBezTo>
                <a:cubicBezTo>
                  <a:pt x="71182" y="151898"/>
                  <a:pt x="63873" y="155393"/>
                  <a:pt x="56564" y="155393"/>
                </a:cubicBezTo>
                <a:close/>
                <a:moveTo>
                  <a:pt x="204331" y="49573"/>
                </a:moveTo>
                <a:cubicBezTo>
                  <a:pt x="194162" y="49573"/>
                  <a:pt x="185264" y="42582"/>
                  <a:pt x="182722" y="32413"/>
                </a:cubicBezTo>
                <a:cubicBezTo>
                  <a:pt x="180180" y="20656"/>
                  <a:pt x="187489" y="8580"/>
                  <a:pt x="199247" y="6038"/>
                </a:cubicBezTo>
                <a:cubicBezTo>
                  <a:pt x="205285" y="4767"/>
                  <a:pt x="211322" y="3496"/>
                  <a:pt x="217360" y="2542"/>
                </a:cubicBezTo>
                <a:cubicBezTo>
                  <a:pt x="229436" y="636"/>
                  <a:pt x="240558" y="8898"/>
                  <a:pt x="242464" y="20973"/>
                </a:cubicBezTo>
                <a:cubicBezTo>
                  <a:pt x="244371" y="33049"/>
                  <a:pt x="236109" y="44171"/>
                  <a:pt x="224033" y="46078"/>
                </a:cubicBezTo>
                <a:cubicBezTo>
                  <a:pt x="218949" y="46713"/>
                  <a:pt x="213864" y="47667"/>
                  <a:pt x="209098" y="48938"/>
                </a:cubicBezTo>
                <a:cubicBezTo>
                  <a:pt x="207509" y="49573"/>
                  <a:pt x="205920" y="49573"/>
                  <a:pt x="204331" y="49573"/>
                </a:cubicBezTo>
                <a:close/>
                <a:moveTo>
                  <a:pt x="1154487" y="43853"/>
                </a:moveTo>
                <a:lnTo>
                  <a:pt x="1137645" y="43853"/>
                </a:lnTo>
                <a:cubicBezTo>
                  <a:pt x="1125569" y="43853"/>
                  <a:pt x="1115718" y="34002"/>
                  <a:pt x="1115718" y="21927"/>
                </a:cubicBezTo>
                <a:cubicBezTo>
                  <a:pt x="1115718" y="9851"/>
                  <a:pt x="1125569" y="0"/>
                  <a:pt x="1137645" y="0"/>
                </a:cubicBezTo>
                <a:lnTo>
                  <a:pt x="1154487" y="0"/>
                </a:lnTo>
                <a:cubicBezTo>
                  <a:pt x="1166562" y="0"/>
                  <a:pt x="1176413" y="9851"/>
                  <a:pt x="1176413" y="21927"/>
                </a:cubicBezTo>
                <a:cubicBezTo>
                  <a:pt x="1176413" y="34002"/>
                  <a:pt x="1166562" y="43853"/>
                  <a:pt x="1154487" y="43853"/>
                </a:cubicBezTo>
                <a:close/>
                <a:moveTo>
                  <a:pt x="967634" y="43853"/>
                </a:moveTo>
                <a:lnTo>
                  <a:pt x="950791" y="43853"/>
                </a:lnTo>
                <a:cubicBezTo>
                  <a:pt x="938715" y="43853"/>
                  <a:pt x="928864" y="34002"/>
                  <a:pt x="928864" y="21927"/>
                </a:cubicBezTo>
                <a:cubicBezTo>
                  <a:pt x="928864" y="9851"/>
                  <a:pt x="938715" y="0"/>
                  <a:pt x="950791" y="0"/>
                </a:cubicBezTo>
                <a:lnTo>
                  <a:pt x="967634" y="0"/>
                </a:lnTo>
                <a:cubicBezTo>
                  <a:pt x="979709" y="0"/>
                  <a:pt x="989560" y="9851"/>
                  <a:pt x="989560" y="21927"/>
                </a:cubicBezTo>
                <a:cubicBezTo>
                  <a:pt x="989560" y="34002"/>
                  <a:pt x="979709" y="43853"/>
                  <a:pt x="967634" y="43853"/>
                </a:cubicBezTo>
                <a:close/>
                <a:moveTo>
                  <a:pt x="781098" y="43853"/>
                </a:moveTo>
                <a:lnTo>
                  <a:pt x="764256" y="43853"/>
                </a:lnTo>
                <a:cubicBezTo>
                  <a:pt x="752180" y="43853"/>
                  <a:pt x="742329" y="34002"/>
                  <a:pt x="742329" y="21927"/>
                </a:cubicBezTo>
                <a:cubicBezTo>
                  <a:pt x="742329" y="9851"/>
                  <a:pt x="752180" y="0"/>
                  <a:pt x="764256" y="0"/>
                </a:cubicBezTo>
                <a:lnTo>
                  <a:pt x="781098" y="0"/>
                </a:lnTo>
                <a:cubicBezTo>
                  <a:pt x="793173" y="0"/>
                  <a:pt x="803025" y="9851"/>
                  <a:pt x="803025" y="21927"/>
                </a:cubicBezTo>
                <a:cubicBezTo>
                  <a:pt x="803025" y="34002"/>
                  <a:pt x="793173" y="43853"/>
                  <a:pt x="781098" y="43853"/>
                </a:cubicBezTo>
                <a:close/>
                <a:moveTo>
                  <a:pt x="594245" y="43853"/>
                </a:moveTo>
                <a:lnTo>
                  <a:pt x="577402" y="43853"/>
                </a:lnTo>
                <a:cubicBezTo>
                  <a:pt x="565327" y="43853"/>
                  <a:pt x="555476" y="34002"/>
                  <a:pt x="555476" y="21927"/>
                </a:cubicBezTo>
                <a:cubicBezTo>
                  <a:pt x="555476" y="9851"/>
                  <a:pt x="565327" y="0"/>
                  <a:pt x="577402" y="0"/>
                </a:cubicBezTo>
                <a:lnTo>
                  <a:pt x="594245" y="0"/>
                </a:lnTo>
                <a:cubicBezTo>
                  <a:pt x="606320" y="0"/>
                  <a:pt x="616171" y="9851"/>
                  <a:pt x="616171" y="21927"/>
                </a:cubicBezTo>
                <a:cubicBezTo>
                  <a:pt x="616489" y="34002"/>
                  <a:pt x="606320" y="43853"/>
                  <a:pt x="594245" y="43853"/>
                </a:cubicBezTo>
                <a:close/>
                <a:moveTo>
                  <a:pt x="407709" y="43853"/>
                </a:moveTo>
                <a:lnTo>
                  <a:pt x="390867" y="43853"/>
                </a:lnTo>
                <a:cubicBezTo>
                  <a:pt x="378791" y="43853"/>
                  <a:pt x="368940" y="34002"/>
                  <a:pt x="368940" y="21927"/>
                </a:cubicBezTo>
                <a:cubicBezTo>
                  <a:pt x="368940" y="9851"/>
                  <a:pt x="378791" y="0"/>
                  <a:pt x="390867" y="0"/>
                </a:cubicBezTo>
                <a:lnTo>
                  <a:pt x="407709" y="0"/>
                </a:lnTo>
                <a:cubicBezTo>
                  <a:pt x="419785" y="0"/>
                  <a:pt x="429636" y="9851"/>
                  <a:pt x="429636" y="21927"/>
                </a:cubicBezTo>
                <a:cubicBezTo>
                  <a:pt x="429636" y="34002"/>
                  <a:pt x="419785" y="43853"/>
                  <a:pt x="407709" y="43853"/>
                </a:cubicBezTo>
                <a:close/>
              </a:path>
            </a:pathLst>
          </a:custGeom>
          <a:solidFill>
            <a:srgbClr val="4285F4"/>
          </a:solidFill>
          <a:ln w="317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54B2D07F-F7B9-8C9B-6AFE-75C68DFF0DF1}"/>
              </a:ext>
            </a:extLst>
          </p:cNvPr>
          <p:cNvSpPr/>
          <p:nvPr/>
        </p:nvSpPr>
        <p:spPr>
          <a:xfrm>
            <a:off x="2842805" y="862332"/>
            <a:ext cx="1249667" cy="1249508"/>
          </a:xfrm>
          <a:custGeom>
            <a:avLst/>
            <a:gdLst>
              <a:gd name="connsiteX0" fmla="*/ 2236838 w 2491378"/>
              <a:gd name="connsiteY0" fmla="*/ 2491377 h 2491377"/>
              <a:gd name="connsiteX1" fmla="*/ 255176 w 2491378"/>
              <a:gd name="connsiteY1" fmla="*/ 2491377 h 2491377"/>
              <a:gd name="connsiteX2" fmla="*/ 0 w 2491378"/>
              <a:gd name="connsiteY2" fmla="*/ 2236202 h 2491377"/>
              <a:gd name="connsiteX3" fmla="*/ 0 w 2491378"/>
              <a:gd name="connsiteY3" fmla="*/ 1245689 h 2491377"/>
              <a:gd name="connsiteX4" fmla="*/ 20338 w 2491378"/>
              <a:gd name="connsiteY4" fmla="*/ 1225351 h 2491377"/>
              <a:gd name="connsiteX5" fmla="*/ 40676 w 2491378"/>
              <a:gd name="connsiteY5" fmla="*/ 1245689 h 2491377"/>
              <a:gd name="connsiteX6" fmla="*/ 40676 w 2491378"/>
              <a:gd name="connsiteY6" fmla="*/ 2236520 h 2491377"/>
              <a:gd name="connsiteX7" fmla="*/ 254858 w 2491378"/>
              <a:gd name="connsiteY7" fmla="*/ 2450702 h 2491377"/>
              <a:gd name="connsiteX8" fmla="*/ 2236202 w 2491378"/>
              <a:gd name="connsiteY8" fmla="*/ 2450702 h 2491377"/>
              <a:gd name="connsiteX9" fmla="*/ 2450385 w 2491378"/>
              <a:gd name="connsiteY9" fmla="*/ 2236520 h 2491377"/>
              <a:gd name="connsiteX10" fmla="*/ 2450385 w 2491378"/>
              <a:gd name="connsiteY10" fmla="*/ 254858 h 2491377"/>
              <a:gd name="connsiteX11" fmla="*/ 2236202 w 2491378"/>
              <a:gd name="connsiteY11" fmla="*/ 40676 h 2491377"/>
              <a:gd name="connsiteX12" fmla="*/ 1245371 w 2491378"/>
              <a:gd name="connsiteY12" fmla="*/ 40676 h 2491377"/>
              <a:gd name="connsiteX13" fmla="*/ 1225033 w 2491378"/>
              <a:gd name="connsiteY13" fmla="*/ 20338 h 2491377"/>
              <a:gd name="connsiteX14" fmla="*/ 1245371 w 2491378"/>
              <a:gd name="connsiteY14" fmla="*/ 0 h 2491377"/>
              <a:gd name="connsiteX15" fmla="*/ 2236202 w 2491378"/>
              <a:gd name="connsiteY15" fmla="*/ 0 h 2491377"/>
              <a:gd name="connsiteX16" fmla="*/ 2491378 w 2491378"/>
              <a:gd name="connsiteY16" fmla="*/ 255176 h 2491377"/>
              <a:gd name="connsiteX17" fmla="*/ 2491378 w 2491378"/>
              <a:gd name="connsiteY17" fmla="*/ 2236520 h 2491377"/>
              <a:gd name="connsiteX18" fmla="*/ 2236838 w 2491378"/>
              <a:gd name="connsiteY18" fmla="*/ 2491377 h 2491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491378" h="2491377">
                <a:moveTo>
                  <a:pt x="2236838" y="2491377"/>
                </a:moveTo>
                <a:lnTo>
                  <a:pt x="255176" y="2491377"/>
                </a:lnTo>
                <a:cubicBezTo>
                  <a:pt x="114400" y="2491377"/>
                  <a:pt x="0" y="2376977"/>
                  <a:pt x="0" y="2236202"/>
                </a:cubicBezTo>
                <a:lnTo>
                  <a:pt x="0" y="1245689"/>
                </a:lnTo>
                <a:cubicBezTo>
                  <a:pt x="0" y="1234566"/>
                  <a:pt x="9215" y="1225351"/>
                  <a:pt x="20338" y="1225351"/>
                </a:cubicBezTo>
                <a:cubicBezTo>
                  <a:pt x="31460" y="1225351"/>
                  <a:pt x="40676" y="1234566"/>
                  <a:pt x="40676" y="1245689"/>
                </a:cubicBezTo>
                <a:lnTo>
                  <a:pt x="40676" y="2236520"/>
                </a:lnTo>
                <a:cubicBezTo>
                  <a:pt x="40676" y="2354733"/>
                  <a:pt x="136644" y="2450702"/>
                  <a:pt x="254858" y="2450702"/>
                </a:cubicBezTo>
                <a:lnTo>
                  <a:pt x="2236202" y="2450702"/>
                </a:lnTo>
                <a:cubicBezTo>
                  <a:pt x="2354416" y="2450702"/>
                  <a:pt x="2450385" y="2354733"/>
                  <a:pt x="2450385" y="2236520"/>
                </a:cubicBezTo>
                <a:lnTo>
                  <a:pt x="2450385" y="254858"/>
                </a:lnTo>
                <a:cubicBezTo>
                  <a:pt x="2450385" y="136644"/>
                  <a:pt x="2354416" y="40676"/>
                  <a:pt x="2236202" y="40676"/>
                </a:cubicBezTo>
                <a:lnTo>
                  <a:pt x="1245371" y="40676"/>
                </a:lnTo>
                <a:cubicBezTo>
                  <a:pt x="1234249" y="40676"/>
                  <a:pt x="1225033" y="31460"/>
                  <a:pt x="1225033" y="20338"/>
                </a:cubicBezTo>
                <a:cubicBezTo>
                  <a:pt x="1225033" y="9216"/>
                  <a:pt x="1234249" y="0"/>
                  <a:pt x="1245371" y="0"/>
                </a:cubicBezTo>
                <a:lnTo>
                  <a:pt x="2236202" y="0"/>
                </a:lnTo>
                <a:cubicBezTo>
                  <a:pt x="2376978" y="0"/>
                  <a:pt x="2491378" y="114400"/>
                  <a:pt x="2491378" y="255176"/>
                </a:cubicBezTo>
                <a:lnTo>
                  <a:pt x="2491378" y="2236520"/>
                </a:lnTo>
                <a:cubicBezTo>
                  <a:pt x="2491696" y="2376977"/>
                  <a:pt x="2377296" y="2491377"/>
                  <a:pt x="2236838" y="2491377"/>
                </a:cubicBezTo>
                <a:close/>
              </a:path>
            </a:pathLst>
          </a:custGeom>
          <a:solidFill>
            <a:srgbClr val="4285F4"/>
          </a:solidFill>
          <a:ln w="317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FC3C78CE-0355-1219-88FF-B8153B3B530E}"/>
              </a:ext>
            </a:extLst>
          </p:cNvPr>
          <p:cNvGrpSpPr/>
          <p:nvPr/>
        </p:nvGrpSpPr>
        <p:grpSpPr>
          <a:xfrm>
            <a:off x="3143624" y="1162752"/>
            <a:ext cx="648508" cy="648508"/>
            <a:chOff x="-4600898" y="411134"/>
            <a:chExt cx="3291873" cy="3291869"/>
          </a:xfrm>
          <a:solidFill>
            <a:srgbClr val="04143F"/>
          </a:solidFill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1773A2FD-4553-9967-B538-CEDA29B8E131}"/>
                </a:ext>
              </a:extLst>
            </p:cNvPr>
            <p:cNvSpPr/>
            <p:nvPr/>
          </p:nvSpPr>
          <p:spPr>
            <a:xfrm>
              <a:off x="-4600898" y="411134"/>
              <a:ext cx="3291873" cy="3291869"/>
            </a:xfrm>
            <a:custGeom>
              <a:avLst/>
              <a:gdLst>
                <a:gd name="connsiteX0" fmla="*/ 3250714 w 3291873"/>
                <a:gd name="connsiteY0" fmla="*/ 1277550 h 3291869"/>
                <a:gd name="connsiteX1" fmla="*/ 2651577 w 3291873"/>
                <a:gd name="connsiteY1" fmla="*/ 1277550 h 3291869"/>
                <a:gd name="connsiteX2" fmla="*/ 2651577 w 3291873"/>
                <a:gd name="connsiteY2" fmla="*/ 142967 h 3291869"/>
                <a:gd name="connsiteX3" fmla="*/ 2508610 w 3291873"/>
                <a:gd name="connsiteY3" fmla="*/ 0 h 3291869"/>
                <a:gd name="connsiteX4" fmla="*/ 142967 w 3291873"/>
                <a:gd name="connsiteY4" fmla="*/ 0 h 3291869"/>
                <a:gd name="connsiteX5" fmla="*/ 0 w 3291873"/>
                <a:gd name="connsiteY5" fmla="*/ 142967 h 3291869"/>
                <a:gd name="connsiteX6" fmla="*/ 0 w 3291873"/>
                <a:gd name="connsiteY6" fmla="*/ 3148902 h 3291869"/>
                <a:gd name="connsiteX7" fmla="*/ 142967 w 3291873"/>
                <a:gd name="connsiteY7" fmla="*/ 3291870 h 3291869"/>
                <a:gd name="connsiteX8" fmla="*/ 2508610 w 3291873"/>
                <a:gd name="connsiteY8" fmla="*/ 3291870 h 3291869"/>
                <a:gd name="connsiteX9" fmla="*/ 2651577 w 3291873"/>
                <a:gd name="connsiteY9" fmla="*/ 3148902 h 3291869"/>
                <a:gd name="connsiteX10" fmla="*/ 2651577 w 3291873"/>
                <a:gd name="connsiteY10" fmla="*/ 2736673 h 3291869"/>
                <a:gd name="connsiteX11" fmla="*/ 3250714 w 3291873"/>
                <a:gd name="connsiteY11" fmla="*/ 2736673 h 3291869"/>
                <a:gd name="connsiteX12" fmla="*/ 3291874 w 3291873"/>
                <a:gd name="connsiteY12" fmla="*/ 2695513 h 3291869"/>
                <a:gd name="connsiteX13" fmla="*/ 3291874 w 3291873"/>
                <a:gd name="connsiteY13" fmla="*/ 1318671 h 3291869"/>
                <a:gd name="connsiteX14" fmla="*/ 3250714 w 3291873"/>
                <a:gd name="connsiteY14" fmla="*/ 1277512 h 3291869"/>
                <a:gd name="connsiteX15" fmla="*/ 2569288 w 3291873"/>
                <a:gd name="connsiteY15" fmla="*/ 142967 h 3291869"/>
                <a:gd name="connsiteX16" fmla="*/ 2569288 w 3291873"/>
                <a:gd name="connsiteY16" fmla="*/ 1277550 h 3291869"/>
                <a:gd name="connsiteX17" fmla="*/ 2393197 w 3291873"/>
                <a:gd name="connsiteY17" fmla="*/ 1277550 h 3291869"/>
                <a:gd name="connsiteX18" fmla="*/ 2393197 w 3291873"/>
                <a:gd name="connsiteY18" fmla="*/ 268028 h 3291869"/>
                <a:gd name="connsiteX19" fmla="*/ 2352037 w 3291873"/>
                <a:gd name="connsiteY19" fmla="*/ 226868 h 3291869"/>
                <a:gd name="connsiteX20" fmla="*/ 1984189 w 3291873"/>
                <a:gd name="connsiteY20" fmla="*/ 226868 h 3291869"/>
                <a:gd name="connsiteX21" fmla="*/ 1984189 w 3291873"/>
                <a:gd name="connsiteY21" fmla="*/ 82292 h 3291869"/>
                <a:gd name="connsiteX22" fmla="*/ 2508613 w 3291873"/>
                <a:gd name="connsiteY22" fmla="*/ 82292 h 3291869"/>
                <a:gd name="connsiteX23" fmla="*/ 2569290 w 3291873"/>
                <a:gd name="connsiteY23" fmla="*/ 142969 h 3291869"/>
                <a:gd name="connsiteX24" fmla="*/ 1325811 w 3291873"/>
                <a:gd name="connsiteY24" fmla="*/ 2736614 h 3291869"/>
                <a:gd name="connsiteX25" fmla="*/ 2310938 w 3291873"/>
                <a:gd name="connsiteY25" fmla="*/ 2736614 h 3291869"/>
                <a:gd name="connsiteX26" fmla="*/ 2310938 w 3291873"/>
                <a:gd name="connsiteY26" fmla="*/ 2955183 h 3291869"/>
                <a:gd name="connsiteX27" fmla="*/ 340757 w 3291873"/>
                <a:gd name="connsiteY27" fmla="*/ 2955212 h 3291869"/>
                <a:gd name="connsiteX28" fmla="*/ 340757 w 3291873"/>
                <a:gd name="connsiteY28" fmla="*/ 309102 h 3291869"/>
                <a:gd name="connsiteX29" fmla="*/ 667479 w 3291873"/>
                <a:gd name="connsiteY29" fmla="*/ 309102 h 3291869"/>
                <a:gd name="connsiteX30" fmla="*/ 667479 w 3291873"/>
                <a:gd name="connsiteY30" fmla="*/ 362890 h 3291869"/>
                <a:gd name="connsiteX31" fmla="*/ 855621 w 3291873"/>
                <a:gd name="connsiteY31" fmla="*/ 548593 h 3291869"/>
                <a:gd name="connsiteX32" fmla="*/ 1796147 w 3291873"/>
                <a:gd name="connsiteY32" fmla="*/ 548593 h 3291869"/>
                <a:gd name="connsiteX33" fmla="*/ 1984289 w 3291873"/>
                <a:gd name="connsiteY33" fmla="*/ 362890 h 3291869"/>
                <a:gd name="connsiteX34" fmla="*/ 1984289 w 3291873"/>
                <a:gd name="connsiteY34" fmla="*/ 309130 h 3291869"/>
                <a:gd name="connsiteX35" fmla="*/ 2311011 w 3291873"/>
                <a:gd name="connsiteY35" fmla="*/ 309130 h 3291869"/>
                <a:gd name="connsiteX36" fmla="*/ 2311011 w 3291873"/>
                <a:gd name="connsiteY36" fmla="*/ 1277504 h 3291869"/>
                <a:gd name="connsiteX37" fmla="*/ 1325884 w 3291873"/>
                <a:gd name="connsiteY37" fmla="*/ 1277476 h 3291869"/>
                <a:gd name="connsiteX38" fmla="*/ 1284724 w 3291873"/>
                <a:gd name="connsiteY38" fmla="*/ 1318635 h 3291869"/>
                <a:gd name="connsiteX39" fmla="*/ 1284753 w 3291873"/>
                <a:gd name="connsiteY39" fmla="*/ 2695477 h 3291869"/>
                <a:gd name="connsiteX40" fmla="*/ 1325884 w 3291873"/>
                <a:gd name="connsiteY40" fmla="*/ 2736608 h 3291869"/>
                <a:gd name="connsiteX41" fmla="*/ 1901897 w 3291873"/>
                <a:gd name="connsiteY41" fmla="*/ 309102 h 3291869"/>
                <a:gd name="connsiteX42" fmla="*/ 1901897 w 3291873"/>
                <a:gd name="connsiteY42" fmla="*/ 362891 h 3291869"/>
                <a:gd name="connsiteX43" fmla="*/ 1796044 w 3291873"/>
                <a:gd name="connsiteY43" fmla="*/ 466305 h 3291869"/>
                <a:gd name="connsiteX44" fmla="*/ 855592 w 3291873"/>
                <a:gd name="connsiteY44" fmla="*/ 466305 h 3291869"/>
                <a:gd name="connsiteX45" fmla="*/ 749739 w 3291873"/>
                <a:gd name="connsiteY45" fmla="*/ 362891 h 3291869"/>
                <a:gd name="connsiteX46" fmla="*/ 749739 w 3291873"/>
                <a:gd name="connsiteY46" fmla="*/ 309131 h 3291869"/>
                <a:gd name="connsiteX47" fmla="*/ 749753 w 3291873"/>
                <a:gd name="connsiteY47" fmla="*/ 226814 h 3291869"/>
                <a:gd name="connsiteX48" fmla="*/ 749753 w 3291873"/>
                <a:gd name="connsiteY48" fmla="*/ 82237 h 3291869"/>
                <a:gd name="connsiteX49" fmla="*/ 1901897 w 3291873"/>
                <a:gd name="connsiteY49" fmla="*/ 82237 h 3291869"/>
                <a:gd name="connsiteX50" fmla="*/ 1901897 w 3291873"/>
                <a:gd name="connsiteY50" fmla="*/ 226814 h 3291869"/>
                <a:gd name="connsiteX51" fmla="*/ 2569303 w 3291873"/>
                <a:gd name="connsiteY51" fmla="*/ 3148836 h 3291869"/>
                <a:gd name="connsiteX52" fmla="*/ 2508626 w 3291873"/>
                <a:gd name="connsiteY52" fmla="*/ 3209513 h 3291869"/>
                <a:gd name="connsiteX53" fmla="*/ 142983 w 3291873"/>
                <a:gd name="connsiteY53" fmla="*/ 3209513 h 3291869"/>
                <a:gd name="connsiteX54" fmla="*/ 82306 w 3291873"/>
                <a:gd name="connsiteY54" fmla="*/ 3148836 h 3291869"/>
                <a:gd name="connsiteX55" fmla="*/ 82306 w 3291873"/>
                <a:gd name="connsiteY55" fmla="*/ 142901 h 3291869"/>
                <a:gd name="connsiteX56" fmla="*/ 142983 w 3291873"/>
                <a:gd name="connsiteY56" fmla="*/ 82224 h 3291869"/>
                <a:gd name="connsiteX57" fmla="*/ 667407 w 3291873"/>
                <a:gd name="connsiteY57" fmla="*/ 82224 h 3291869"/>
                <a:gd name="connsiteX58" fmla="*/ 667407 w 3291873"/>
                <a:gd name="connsiteY58" fmla="*/ 226800 h 3291869"/>
                <a:gd name="connsiteX59" fmla="*/ 299559 w 3291873"/>
                <a:gd name="connsiteY59" fmla="*/ 226800 h 3291869"/>
                <a:gd name="connsiteX60" fmla="*/ 258399 w 3291873"/>
                <a:gd name="connsiteY60" fmla="*/ 267960 h 3291869"/>
                <a:gd name="connsiteX61" fmla="*/ 258399 w 3291873"/>
                <a:gd name="connsiteY61" fmla="*/ 2996293 h 3291869"/>
                <a:gd name="connsiteX62" fmla="*/ 299559 w 3291873"/>
                <a:gd name="connsiteY62" fmla="*/ 3037453 h 3291869"/>
                <a:gd name="connsiteX63" fmla="*/ 2352036 w 3291873"/>
                <a:gd name="connsiteY63" fmla="*/ 3037453 h 3291869"/>
                <a:gd name="connsiteX64" fmla="*/ 2393196 w 3291873"/>
                <a:gd name="connsiteY64" fmla="*/ 2996293 h 3291869"/>
                <a:gd name="connsiteX65" fmla="*/ 2393167 w 3291873"/>
                <a:gd name="connsiteY65" fmla="*/ 2736561 h 3291869"/>
                <a:gd name="connsiteX66" fmla="*/ 2569258 w 3291873"/>
                <a:gd name="connsiteY66" fmla="*/ 2736561 h 3291869"/>
                <a:gd name="connsiteX67" fmla="*/ 3209603 w 3291873"/>
                <a:gd name="connsiteY67" fmla="*/ 2654318 h 3291869"/>
                <a:gd name="connsiteX68" fmla="*/ 1366981 w 3291873"/>
                <a:gd name="connsiteY68" fmla="*/ 2654318 h 3291869"/>
                <a:gd name="connsiteX69" fmla="*/ 1366981 w 3291873"/>
                <a:gd name="connsiteY69" fmla="*/ 1359772 h 3291869"/>
                <a:gd name="connsiteX70" fmla="*/ 3209603 w 3291873"/>
                <a:gd name="connsiteY70" fmla="*/ 1359772 h 3291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3291873" h="3291869">
                  <a:moveTo>
                    <a:pt x="3250714" y="1277550"/>
                  </a:moveTo>
                  <a:lnTo>
                    <a:pt x="2651577" y="1277550"/>
                  </a:lnTo>
                  <a:lnTo>
                    <a:pt x="2651577" y="142967"/>
                  </a:lnTo>
                  <a:cubicBezTo>
                    <a:pt x="2651577" y="64125"/>
                    <a:pt x="2587455" y="0"/>
                    <a:pt x="2508610" y="0"/>
                  </a:cubicBezTo>
                  <a:lnTo>
                    <a:pt x="142967" y="0"/>
                  </a:lnTo>
                  <a:cubicBezTo>
                    <a:pt x="64125" y="0"/>
                    <a:pt x="0" y="64122"/>
                    <a:pt x="0" y="142967"/>
                  </a:cubicBezTo>
                  <a:lnTo>
                    <a:pt x="0" y="3148902"/>
                  </a:lnTo>
                  <a:cubicBezTo>
                    <a:pt x="0" y="3227745"/>
                    <a:pt x="64122" y="3291870"/>
                    <a:pt x="142967" y="3291870"/>
                  </a:cubicBezTo>
                  <a:lnTo>
                    <a:pt x="2508610" y="3291870"/>
                  </a:lnTo>
                  <a:cubicBezTo>
                    <a:pt x="2587453" y="3291870"/>
                    <a:pt x="2651577" y="3227748"/>
                    <a:pt x="2651577" y="3148902"/>
                  </a:cubicBezTo>
                  <a:lnTo>
                    <a:pt x="2651577" y="2736673"/>
                  </a:lnTo>
                  <a:lnTo>
                    <a:pt x="3250714" y="2736673"/>
                  </a:lnTo>
                  <a:cubicBezTo>
                    <a:pt x="3273447" y="2736673"/>
                    <a:pt x="3291874" y="2718246"/>
                    <a:pt x="3291874" y="2695513"/>
                  </a:cubicBezTo>
                  <a:lnTo>
                    <a:pt x="3291874" y="1318671"/>
                  </a:lnTo>
                  <a:cubicBezTo>
                    <a:pt x="3291874" y="1295939"/>
                    <a:pt x="3273447" y="1277512"/>
                    <a:pt x="3250714" y="1277512"/>
                  </a:cubicBezTo>
                  <a:close/>
                  <a:moveTo>
                    <a:pt x="2569288" y="142967"/>
                  </a:moveTo>
                  <a:lnTo>
                    <a:pt x="2569288" y="1277550"/>
                  </a:lnTo>
                  <a:lnTo>
                    <a:pt x="2393197" y="1277550"/>
                  </a:lnTo>
                  <a:lnTo>
                    <a:pt x="2393197" y="268028"/>
                  </a:lnTo>
                  <a:cubicBezTo>
                    <a:pt x="2393197" y="245295"/>
                    <a:pt x="2374770" y="226868"/>
                    <a:pt x="2352037" y="226868"/>
                  </a:cubicBezTo>
                  <a:lnTo>
                    <a:pt x="1984189" y="226868"/>
                  </a:lnTo>
                  <a:lnTo>
                    <a:pt x="1984189" y="82292"/>
                  </a:lnTo>
                  <a:lnTo>
                    <a:pt x="2508613" y="82292"/>
                  </a:lnTo>
                  <a:cubicBezTo>
                    <a:pt x="2542080" y="82292"/>
                    <a:pt x="2569290" y="109530"/>
                    <a:pt x="2569290" y="142969"/>
                  </a:cubicBezTo>
                  <a:close/>
                  <a:moveTo>
                    <a:pt x="1325811" y="2736614"/>
                  </a:moveTo>
                  <a:lnTo>
                    <a:pt x="2310938" y="2736614"/>
                  </a:lnTo>
                  <a:lnTo>
                    <a:pt x="2310938" y="2955183"/>
                  </a:lnTo>
                  <a:lnTo>
                    <a:pt x="340757" y="2955212"/>
                  </a:lnTo>
                  <a:lnTo>
                    <a:pt x="340757" y="309102"/>
                  </a:lnTo>
                  <a:lnTo>
                    <a:pt x="667479" y="309102"/>
                  </a:lnTo>
                  <a:lnTo>
                    <a:pt x="667479" y="362890"/>
                  </a:lnTo>
                  <a:cubicBezTo>
                    <a:pt x="667479" y="465305"/>
                    <a:pt x="751892" y="548593"/>
                    <a:pt x="855621" y="548593"/>
                  </a:cubicBezTo>
                  <a:lnTo>
                    <a:pt x="1796147" y="548593"/>
                  </a:lnTo>
                  <a:cubicBezTo>
                    <a:pt x="1899877" y="548593"/>
                    <a:pt x="1984289" y="465297"/>
                    <a:pt x="1984289" y="362890"/>
                  </a:cubicBezTo>
                  <a:lnTo>
                    <a:pt x="1984289" y="309130"/>
                  </a:lnTo>
                  <a:lnTo>
                    <a:pt x="2311011" y="309130"/>
                  </a:lnTo>
                  <a:lnTo>
                    <a:pt x="2311011" y="1277504"/>
                  </a:lnTo>
                  <a:lnTo>
                    <a:pt x="1325884" y="1277476"/>
                  </a:lnTo>
                  <a:cubicBezTo>
                    <a:pt x="1303151" y="1277476"/>
                    <a:pt x="1284724" y="1295903"/>
                    <a:pt x="1284724" y="1318635"/>
                  </a:cubicBezTo>
                  <a:lnTo>
                    <a:pt x="1284753" y="2695477"/>
                  </a:lnTo>
                  <a:cubicBezTo>
                    <a:pt x="1284753" y="2718210"/>
                    <a:pt x="1303180" y="2736608"/>
                    <a:pt x="1325884" y="2736608"/>
                  </a:cubicBezTo>
                  <a:close/>
                  <a:moveTo>
                    <a:pt x="1901897" y="309102"/>
                  </a:moveTo>
                  <a:lnTo>
                    <a:pt x="1901897" y="362891"/>
                  </a:lnTo>
                  <a:cubicBezTo>
                    <a:pt x="1901897" y="419923"/>
                    <a:pt x="1854424" y="466305"/>
                    <a:pt x="1796044" y="466305"/>
                  </a:cubicBezTo>
                  <a:lnTo>
                    <a:pt x="855592" y="466305"/>
                  </a:lnTo>
                  <a:cubicBezTo>
                    <a:pt x="797240" y="466305"/>
                    <a:pt x="749739" y="419921"/>
                    <a:pt x="749739" y="362891"/>
                  </a:cubicBezTo>
                  <a:lnTo>
                    <a:pt x="749739" y="309131"/>
                  </a:lnTo>
                  <a:close/>
                  <a:moveTo>
                    <a:pt x="749753" y="226814"/>
                  </a:moveTo>
                  <a:lnTo>
                    <a:pt x="749753" y="82237"/>
                  </a:lnTo>
                  <a:lnTo>
                    <a:pt x="1901897" y="82237"/>
                  </a:lnTo>
                  <a:lnTo>
                    <a:pt x="1901897" y="226814"/>
                  </a:lnTo>
                  <a:close/>
                  <a:moveTo>
                    <a:pt x="2569303" y="3148836"/>
                  </a:moveTo>
                  <a:cubicBezTo>
                    <a:pt x="2569303" y="3182303"/>
                    <a:pt x="2542065" y="3209513"/>
                    <a:pt x="2508626" y="3209513"/>
                  </a:cubicBezTo>
                  <a:lnTo>
                    <a:pt x="142983" y="3209513"/>
                  </a:lnTo>
                  <a:cubicBezTo>
                    <a:pt x="109545" y="3209513"/>
                    <a:pt x="82306" y="3182275"/>
                    <a:pt x="82306" y="3148836"/>
                  </a:cubicBezTo>
                  <a:lnTo>
                    <a:pt x="82306" y="142901"/>
                  </a:lnTo>
                  <a:cubicBezTo>
                    <a:pt x="82306" y="109434"/>
                    <a:pt x="109545" y="82224"/>
                    <a:pt x="142983" y="82224"/>
                  </a:cubicBezTo>
                  <a:lnTo>
                    <a:pt x="667407" y="82224"/>
                  </a:lnTo>
                  <a:lnTo>
                    <a:pt x="667407" y="226800"/>
                  </a:lnTo>
                  <a:lnTo>
                    <a:pt x="299559" y="226800"/>
                  </a:lnTo>
                  <a:cubicBezTo>
                    <a:pt x="276826" y="226800"/>
                    <a:pt x="258399" y="245227"/>
                    <a:pt x="258399" y="267960"/>
                  </a:cubicBezTo>
                  <a:lnTo>
                    <a:pt x="258399" y="2996293"/>
                  </a:lnTo>
                  <a:cubicBezTo>
                    <a:pt x="258399" y="3019026"/>
                    <a:pt x="276826" y="3037453"/>
                    <a:pt x="299559" y="3037453"/>
                  </a:cubicBezTo>
                  <a:lnTo>
                    <a:pt x="2352036" y="3037453"/>
                  </a:lnTo>
                  <a:cubicBezTo>
                    <a:pt x="2374769" y="3037453"/>
                    <a:pt x="2393196" y="3019026"/>
                    <a:pt x="2393196" y="2996293"/>
                  </a:cubicBezTo>
                  <a:lnTo>
                    <a:pt x="2393167" y="2736561"/>
                  </a:lnTo>
                  <a:lnTo>
                    <a:pt x="2569258" y="2736561"/>
                  </a:lnTo>
                  <a:close/>
                  <a:moveTo>
                    <a:pt x="3209603" y="2654318"/>
                  </a:moveTo>
                  <a:lnTo>
                    <a:pt x="1366981" y="2654318"/>
                  </a:lnTo>
                  <a:lnTo>
                    <a:pt x="1366981" y="1359772"/>
                  </a:lnTo>
                  <a:lnTo>
                    <a:pt x="3209603" y="1359772"/>
                  </a:lnTo>
                  <a:close/>
                </a:path>
              </a:pathLst>
            </a:custGeom>
            <a:grpFill/>
            <a:ln w="7348" cap="flat">
              <a:solidFill>
                <a:srgbClr val="0414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E0138E16-991B-1C1D-AC32-626EC52857ED}"/>
                </a:ext>
              </a:extLst>
            </p:cNvPr>
            <p:cNvSpPr/>
            <p:nvPr/>
          </p:nvSpPr>
          <p:spPr>
            <a:xfrm>
              <a:off x="-1909855" y="1877847"/>
              <a:ext cx="359133" cy="359133"/>
            </a:xfrm>
            <a:custGeom>
              <a:avLst/>
              <a:gdLst>
                <a:gd name="connsiteX0" fmla="*/ 179567 w 359133"/>
                <a:gd name="connsiteY0" fmla="*/ 359134 h 359133"/>
                <a:gd name="connsiteX1" fmla="*/ 359134 w 359133"/>
                <a:gd name="connsiteY1" fmla="*/ 179567 h 359133"/>
                <a:gd name="connsiteX2" fmla="*/ 179567 w 359133"/>
                <a:gd name="connsiteY2" fmla="*/ 0 h 359133"/>
                <a:gd name="connsiteX3" fmla="*/ 0 w 359133"/>
                <a:gd name="connsiteY3" fmla="*/ 179567 h 359133"/>
                <a:gd name="connsiteX4" fmla="*/ 179567 w 359133"/>
                <a:gd name="connsiteY4" fmla="*/ 359134 h 359133"/>
                <a:gd name="connsiteX5" fmla="*/ 179567 w 359133"/>
                <a:gd name="connsiteY5" fmla="*/ 82296 h 359133"/>
                <a:gd name="connsiteX6" fmla="*/ 276838 w 359133"/>
                <a:gd name="connsiteY6" fmla="*/ 179567 h 359133"/>
                <a:gd name="connsiteX7" fmla="*/ 179567 w 359133"/>
                <a:gd name="connsiteY7" fmla="*/ 276838 h 359133"/>
                <a:gd name="connsiteX8" fmla="*/ 82296 w 359133"/>
                <a:gd name="connsiteY8" fmla="*/ 179567 h 359133"/>
                <a:gd name="connsiteX9" fmla="*/ 179567 w 359133"/>
                <a:gd name="connsiteY9" fmla="*/ 82296 h 359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9133" h="359133">
                  <a:moveTo>
                    <a:pt x="179567" y="359134"/>
                  </a:moveTo>
                  <a:cubicBezTo>
                    <a:pt x="278594" y="359134"/>
                    <a:pt x="359134" y="278594"/>
                    <a:pt x="359134" y="179567"/>
                  </a:cubicBezTo>
                  <a:cubicBezTo>
                    <a:pt x="359134" y="80540"/>
                    <a:pt x="278594" y="0"/>
                    <a:pt x="179567" y="0"/>
                  </a:cubicBezTo>
                  <a:cubicBezTo>
                    <a:pt x="80540" y="0"/>
                    <a:pt x="0" y="80540"/>
                    <a:pt x="0" y="179567"/>
                  </a:cubicBezTo>
                  <a:cubicBezTo>
                    <a:pt x="0" y="278594"/>
                    <a:pt x="80540" y="359134"/>
                    <a:pt x="179567" y="359134"/>
                  </a:cubicBezTo>
                  <a:close/>
                  <a:moveTo>
                    <a:pt x="179567" y="82296"/>
                  </a:moveTo>
                  <a:cubicBezTo>
                    <a:pt x="233184" y="82296"/>
                    <a:pt x="276838" y="125924"/>
                    <a:pt x="276838" y="179567"/>
                  </a:cubicBezTo>
                  <a:cubicBezTo>
                    <a:pt x="276838" y="233183"/>
                    <a:pt x="233210" y="276838"/>
                    <a:pt x="179567" y="276838"/>
                  </a:cubicBezTo>
                  <a:cubicBezTo>
                    <a:pt x="125950" y="276838"/>
                    <a:pt x="82296" y="233181"/>
                    <a:pt x="82296" y="179567"/>
                  </a:cubicBezTo>
                  <a:cubicBezTo>
                    <a:pt x="82296" y="125953"/>
                    <a:pt x="125953" y="82296"/>
                    <a:pt x="179567" y="82296"/>
                  </a:cubicBezTo>
                  <a:close/>
                </a:path>
              </a:pathLst>
            </a:custGeom>
            <a:grpFill/>
            <a:ln w="7348" cap="flat">
              <a:solidFill>
                <a:srgbClr val="0414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9095558C-FE8B-C972-A306-4AD67D640CB6}"/>
                </a:ext>
              </a:extLst>
            </p:cNvPr>
            <p:cNvSpPr/>
            <p:nvPr/>
          </p:nvSpPr>
          <p:spPr>
            <a:xfrm>
              <a:off x="-3048721" y="1953444"/>
              <a:ext cx="815873" cy="814969"/>
            </a:xfrm>
            <a:custGeom>
              <a:avLst/>
              <a:gdLst>
                <a:gd name="connsiteX0" fmla="*/ 42110 w 815873"/>
                <a:gd name="connsiteY0" fmla="*/ 429833 h 814969"/>
                <a:gd name="connsiteX1" fmla="*/ 57495 w 815873"/>
                <a:gd name="connsiteY1" fmla="*/ 523319 h 814969"/>
                <a:gd name="connsiteX2" fmla="*/ 55056 w 815873"/>
                <a:gd name="connsiteY2" fmla="*/ 530610 h 814969"/>
                <a:gd name="connsiteX3" fmla="*/ 100406 w 815873"/>
                <a:gd name="connsiteY3" fmla="*/ 719648 h 814969"/>
                <a:gd name="connsiteX4" fmla="*/ 289988 w 815873"/>
                <a:gd name="connsiteY4" fmla="*/ 762616 h 814969"/>
                <a:gd name="connsiteX5" fmla="*/ 297250 w 815873"/>
                <a:gd name="connsiteY5" fmla="*/ 760090 h 814969"/>
                <a:gd name="connsiteX6" fmla="*/ 390876 w 815873"/>
                <a:gd name="connsiteY6" fmla="*/ 774327 h 814969"/>
                <a:gd name="connsiteX7" fmla="*/ 397105 w 815873"/>
                <a:gd name="connsiteY7" fmla="*/ 778919 h 814969"/>
                <a:gd name="connsiteX8" fmla="*/ 506117 w 815873"/>
                <a:gd name="connsiteY8" fmla="*/ 814969 h 814969"/>
                <a:gd name="connsiteX9" fmla="*/ 590904 w 815873"/>
                <a:gd name="connsiteY9" fmla="*/ 794189 h 814969"/>
                <a:gd name="connsiteX10" fmla="*/ 690357 w 815873"/>
                <a:gd name="connsiteY10" fmla="*/ 627253 h 814969"/>
                <a:gd name="connsiteX11" fmla="*/ 690214 w 815873"/>
                <a:gd name="connsiteY11" fmla="*/ 619474 h 814969"/>
                <a:gd name="connsiteX12" fmla="*/ 732694 w 815873"/>
                <a:gd name="connsiteY12" fmla="*/ 534805 h 814969"/>
                <a:gd name="connsiteX13" fmla="*/ 738951 w 815873"/>
                <a:gd name="connsiteY13" fmla="*/ 530327 h 814969"/>
                <a:gd name="connsiteX14" fmla="*/ 813377 w 815873"/>
                <a:gd name="connsiteY14" fmla="*/ 350790 h 814969"/>
                <a:gd name="connsiteX15" fmla="*/ 685304 w 815873"/>
                <a:gd name="connsiteY15" fmla="*/ 204582 h 814969"/>
                <a:gd name="connsiteX16" fmla="*/ 685304 w 815873"/>
                <a:gd name="connsiteY16" fmla="*/ 204553 h 814969"/>
                <a:gd name="connsiteX17" fmla="*/ 608181 w 815873"/>
                <a:gd name="connsiteY17" fmla="*/ 128408 h 814969"/>
                <a:gd name="connsiteX18" fmla="*/ 460393 w 815873"/>
                <a:gd name="connsiteY18" fmla="*/ 2142 h 814969"/>
                <a:gd name="connsiteX19" fmla="*/ 281833 w 815873"/>
                <a:gd name="connsiteY19" fmla="*/ 78692 h 814969"/>
                <a:gd name="connsiteX20" fmla="*/ 277356 w 815873"/>
                <a:gd name="connsiteY20" fmla="*/ 85093 h 814969"/>
                <a:gd name="connsiteX21" fmla="*/ 193171 w 815873"/>
                <a:gd name="connsiteY21" fmla="*/ 128606 h 814969"/>
                <a:gd name="connsiteX22" fmla="*/ 185507 w 815873"/>
                <a:gd name="connsiteY22" fmla="*/ 128577 h 814969"/>
                <a:gd name="connsiteX23" fmla="*/ 184244 w 815873"/>
                <a:gd name="connsiteY23" fmla="*/ 128577 h 814969"/>
                <a:gd name="connsiteX24" fmla="*/ 19748 w 815873"/>
                <a:gd name="connsiteY24" fmla="*/ 230095 h 814969"/>
                <a:gd name="connsiteX25" fmla="*/ 37428 w 815873"/>
                <a:gd name="connsiteY25" fmla="*/ 423638 h 814969"/>
                <a:gd name="connsiteX26" fmla="*/ 93316 w 815873"/>
                <a:gd name="connsiteY26" fmla="*/ 267033 h 814969"/>
                <a:gd name="connsiteX27" fmla="*/ 185017 w 815873"/>
                <a:gd name="connsiteY27" fmla="*/ 210891 h 814969"/>
                <a:gd name="connsiteX28" fmla="*/ 192681 w 815873"/>
                <a:gd name="connsiteY28" fmla="*/ 210920 h 814969"/>
                <a:gd name="connsiteX29" fmla="*/ 344804 w 815873"/>
                <a:gd name="connsiteY29" fmla="*/ 132276 h 814969"/>
                <a:gd name="connsiteX30" fmla="*/ 349310 w 815873"/>
                <a:gd name="connsiteY30" fmla="*/ 125875 h 814969"/>
                <a:gd name="connsiteX31" fmla="*/ 448051 w 815873"/>
                <a:gd name="connsiteY31" fmla="*/ 83510 h 814969"/>
                <a:gd name="connsiteX32" fmla="*/ 529766 w 815873"/>
                <a:gd name="connsiteY32" fmla="*/ 153315 h 814969"/>
                <a:gd name="connsiteX33" fmla="*/ 661396 w 815873"/>
                <a:gd name="connsiteY33" fmla="*/ 283306 h 814969"/>
                <a:gd name="connsiteX34" fmla="*/ 661396 w 815873"/>
                <a:gd name="connsiteY34" fmla="*/ 283277 h 814969"/>
                <a:gd name="connsiteX35" fmla="*/ 732205 w 815873"/>
                <a:gd name="connsiteY35" fmla="*/ 364133 h 814969"/>
                <a:gd name="connsiteX36" fmla="*/ 691045 w 815873"/>
                <a:gd name="connsiteY36" fmla="*/ 463417 h 814969"/>
                <a:gd name="connsiteX37" fmla="*/ 684788 w 815873"/>
                <a:gd name="connsiteY37" fmla="*/ 467895 h 814969"/>
                <a:gd name="connsiteX38" fmla="*/ 607951 w 815873"/>
                <a:gd name="connsiteY38" fmla="*/ 620966 h 814969"/>
                <a:gd name="connsiteX39" fmla="*/ 608095 w 815873"/>
                <a:gd name="connsiteY39" fmla="*/ 628744 h 814969"/>
                <a:gd name="connsiteX40" fmla="*/ 553101 w 815873"/>
                <a:gd name="connsiteY40" fmla="*/ 721048 h 814969"/>
                <a:gd name="connsiteX41" fmla="*/ 445984 w 815873"/>
                <a:gd name="connsiteY41" fmla="*/ 712610 h 814969"/>
                <a:gd name="connsiteX42" fmla="*/ 439726 w 815873"/>
                <a:gd name="connsiteY42" fmla="*/ 708017 h 814969"/>
                <a:gd name="connsiteX43" fmla="*/ 330545 w 815873"/>
                <a:gd name="connsiteY43" fmla="*/ 672168 h 814969"/>
                <a:gd name="connsiteX44" fmla="*/ 270298 w 815873"/>
                <a:gd name="connsiteY44" fmla="*/ 682300 h 814969"/>
                <a:gd name="connsiteX45" fmla="*/ 263036 w 815873"/>
                <a:gd name="connsiteY45" fmla="*/ 684825 h 814969"/>
                <a:gd name="connsiteX46" fmla="*/ 158241 w 815873"/>
                <a:gd name="connsiteY46" fmla="*/ 661060 h 814969"/>
                <a:gd name="connsiteX47" fmla="*/ 133183 w 815873"/>
                <a:gd name="connsiteY47" fmla="*/ 556500 h 814969"/>
                <a:gd name="connsiteX48" fmla="*/ 135623 w 815873"/>
                <a:gd name="connsiteY48" fmla="*/ 549209 h 814969"/>
                <a:gd name="connsiteX49" fmla="*/ 107781 w 815873"/>
                <a:gd name="connsiteY49" fmla="*/ 380179 h 814969"/>
                <a:gd name="connsiteX50" fmla="*/ 103132 w 815873"/>
                <a:gd name="connsiteY50" fmla="*/ 374008 h 814969"/>
                <a:gd name="connsiteX51" fmla="*/ 93316 w 815873"/>
                <a:gd name="connsiteY51" fmla="*/ 267030 h 814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815873" h="814969">
                  <a:moveTo>
                    <a:pt x="42110" y="429833"/>
                  </a:moveTo>
                  <a:cubicBezTo>
                    <a:pt x="62317" y="456554"/>
                    <a:pt x="68057" y="491485"/>
                    <a:pt x="57495" y="523319"/>
                  </a:cubicBezTo>
                  <a:lnTo>
                    <a:pt x="55056" y="530610"/>
                  </a:lnTo>
                  <a:cubicBezTo>
                    <a:pt x="32811" y="597602"/>
                    <a:pt x="50176" y="670021"/>
                    <a:pt x="100406" y="719648"/>
                  </a:cubicBezTo>
                  <a:cubicBezTo>
                    <a:pt x="150635" y="769246"/>
                    <a:pt x="223225" y="785693"/>
                    <a:pt x="289988" y="762616"/>
                  </a:cubicBezTo>
                  <a:lnTo>
                    <a:pt x="297250" y="760090"/>
                  </a:lnTo>
                  <a:cubicBezTo>
                    <a:pt x="328937" y="749126"/>
                    <a:pt x="363926" y="754465"/>
                    <a:pt x="390876" y="774327"/>
                  </a:cubicBezTo>
                  <a:lnTo>
                    <a:pt x="397105" y="778919"/>
                  </a:lnTo>
                  <a:cubicBezTo>
                    <a:pt x="429539" y="802828"/>
                    <a:pt x="467685" y="814969"/>
                    <a:pt x="506117" y="814969"/>
                  </a:cubicBezTo>
                  <a:cubicBezTo>
                    <a:pt x="534964" y="814969"/>
                    <a:pt x="564010" y="808109"/>
                    <a:pt x="590904" y="794189"/>
                  </a:cubicBezTo>
                  <a:cubicBezTo>
                    <a:pt x="653590" y="761755"/>
                    <a:pt x="691680" y="697778"/>
                    <a:pt x="690357" y="627253"/>
                  </a:cubicBezTo>
                  <a:lnTo>
                    <a:pt x="690214" y="619474"/>
                  </a:lnTo>
                  <a:cubicBezTo>
                    <a:pt x="689582" y="586007"/>
                    <a:pt x="705455" y="554348"/>
                    <a:pt x="732694" y="534805"/>
                  </a:cubicBezTo>
                  <a:lnTo>
                    <a:pt x="738951" y="530327"/>
                  </a:lnTo>
                  <a:cubicBezTo>
                    <a:pt x="796327" y="489225"/>
                    <a:pt x="824832" y="420425"/>
                    <a:pt x="813377" y="350790"/>
                  </a:cubicBezTo>
                  <a:cubicBezTo>
                    <a:pt x="801896" y="281129"/>
                    <a:pt x="752843" y="225127"/>
                    <a:pt x="685304" y="204582"/>
                  </a:cubicBezTo>
                  <a:lnTo>
                    <a:pt x="685304" y="204553"/>
                  </a:lnTo>
                  <a:cubicBezTo>
                    <a:pt x="648622" y="193417"/>
                    <a:pt x="619776" y="164944"/>
                    <a:pt x="608181" y="128408"/>
                  </a:cubicBezTo>
                  <a:cubicBezTo>
                    <a:pt x="586797" y="61129"/>
                    <a:pt x="530198" y="12767"/>
                    <a:pt x="460393" y="2142"/>
                  </a:cubicBezTo>
                  <a:cubicBezTo>
                    <a:pt x="390646" y="-8478"/>
                    <a:pt x="322165" y="20914"/>
                    <a:pt x="281833" y="78692"/>
                  </a:cubicBezTo>
                  <a:lnTo>
                    <a:pt x="277356" y="85093"/>
                  </a:lnTo>
                  <a:cubicBezTo>
                    <a:pt x="258182" y="112561"/>
                    <a:pt x="226494" y="130012"/>
                    <a:pt x="193171" y="128606"/>
                  </a:cubicBezTo>
                  <a:lnTo>
                    <a:pt x="185507" y="128577"/>
                  </a:lnTo>
                  <a:lnTo>
                    <a:pt x="184244" y="128577"/>
                  </a:lnTo>
                  <a:cubicBezTo>
                    <a:pt x="114152" y="128577"/>
                    <a:pt x="51211" y="167383"/>
                    <a:pt x="19748" y="230095"/>
                  </a:cubicBezTo>
                  <a:cubicBezTo>
                    <a:pt x="-11911" y="293155"/>
                    <a:pt x="-5137" y="367353"/>
                    <a:pt x="37428" y="423638"/>
                  </a:cubicBezTo>
                  <a:close/>
                  <a:moveTo>
                    <a:pt x="93316" y="267033"/>
                  </a:moveTo>
                  <a:cubicBezTo>
                    <a:pt x="111083" y="231614"/>
                    <a:pt x="145268" y="211637"/>
                    <a:pt x="185017" y="210891"/>
                  </a:cubicBezTo>
                  <a:lnTo>
                    <a:pt x="192681" y="210920"/>
                  </a:lnTo>
                  <a:cubicBezTo>
                    <a:pt x="253272" y="209801"/>
                    <a:pt x="310159" y="181902"/>
                    <a:pt x="344804" y="132276"/>
                  </a:cubicBezTo>
                  <a:lnTo>
                    <a:pt x="349310" y="125875"/>
                  </a:lnTo>
                  <a:cubicBezTo>
                    <a:pt x="371985" y="93412"/>
                    <a:pt x="409040" y="77540"/>
                    <a:pt x="448051" y="83510"/>
                  </a:cubicBezTo>
                  <a:cubicBezTo>
                    <a:pt x="487229" y="89452"/>
                    <a:pt x="517769" y="115571"/>
                    <a:pt x="529766" y="153315"/>
                  </a:cubicBezTo>
                  <a:cubicBezTo>
                    <a:pt x="549600" y="215686"/>
                    <a:pt x="598796" y="264282"/>
                    <a:pt x="661396" y="283306"/>
                  </a:cubicBezTo>
                  <a:lnTo>
                    <a:pt x="661396" y="283277"/>
                  </a:lnTo>
                  <a:cubicBezTo>
                    <a:pt x="699312" y="294816"/>
                    <a:pt x="725776" y="325040"/>
                    <a:pt x="732205" y="364133"/>
                  </a:cubicBezTo>
                  <a:cubicBezTo>
                    <a:pt x="738663" y="403226"/>
                    <a:pt x="723249" y="440338"/>
                    <a:pt x="691045" y="463417"/>
                  </a:cubicBezTo>
                  <a:lnTo>
                    <a:pt x="684788" y="467895"/>
                  </a:lnTo>
                  <a:cubicBezTo>
                    <a:pt x="635534" y="503228"/>
                    <a:pt x="606805" y="560463"/>
                    <a:pt x="607951" y="620966"/>
                  </a:cubicBezTo>
                  <a:lnTo>
                    <a:pt x="608095" y="628744"/>
                  </a:lnTo>
                  <a:cubicBezTo>
                    <a:pt x="608870" y="668353"/>
                    <a:pt x="588319" y="702855"/>
                    <a:pt x="553101" y="721048"/>
                  </a:cubicBezTo>
                  <a:cubicBezTo>
                    <a:pt x="517911" y="739217"/>
                    <a:pt x="477844" y="736060"/>
                    <a:pt x="445984" y="712610"/>
                  </a:cubicBezTo>
                  <a:lnTo>
                    <a:pt x="439726" y="708017"/>
                  </a:lnTo>
                  <a:cubicBezTo>
                    <a:pt x="407665" y="684395"/>
                    <a:pt x="369319" y="672168"/>
                    <a:pt x="330545" y="672168"/>
                  </a:cubicBezTo>
                  <a:cubicBezTo>
                    <a:pt x="310309" y="672168"/>
                    <a:pt x="289960" y="675497"/>
                    <a:pt x="270298" y="682300"/>
                  </a:cubicBezTo>
                  <a:lnTo>
                    <a:pt x="263036" y="684825"/>
                  </a:lnTo>
                  <a:cubicBezTo>
                    <a:pt x="225637" y="697742"/>
                    <a:pt x="186457" y="688930"/>
                    <a:pt x="158241" y="661060"/>
                  </a:cubicBezTo>
                  <a:cubicBezTo>
                    <a:pt x="130056" y="633218"/>
                    <a:pt x="120698" y="594125"/>
                    <a:pt x="133183" y="556500"/>
                  </a:cubicBezTo>
                  <a:lnTo>
                    <a:pt x="135623" y="549209"/>
                  </a:lnTo>
                  <a:cubicBezTo>
                    <a:pt x="154711" y="491689"/>
                    <a:pt x="144292" y="428484"/>
                    <a:pt x="107781" y="380179"/>
                  </a:cubicBezTo>
                  <a:lnTo>
                    <a:pt x="103132" y="374008"/>
                  </a:lnTo>
                  <a:cubicBezTo>
                    <a:pt x="79194" y="342435"/>
                    <a:pt x="75548" y="302424"/>
                    <a:pt x="93316" y="267030"/>
                  </a:cubicBezTo>
                  <a:close/>
                </a:path>
              </a:pathLst>
            </a:custGeom>
            <a:grpFill/>
            <a:ln w="7348" cap="flat">
              <a:solidFill>
                <a:srgbClr val="0414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D7EFC9B8-6EAE-71A1-EC23-1994E7366AD0}"/>
                </a:ext>
              </a:extLst>
            </p:cNvPr>
            <p:cNvSpPr/>
            <p:nvPr/>
          </p:nvSpPr>
          <p:spPr>
            <a:xfrm>
              <a:off x="-2232972" y="2281453"/>
              <a:ext cx="674254" cy="684873"/>
            </a:xfrm>
            <a:custGeom>
              <a:avLst/>
              <a:gdLst>
                <a:gd name="connsiteX0" fmla="*/ 78932 w 674254"/>
                <a:gd name="connsiteY0" fmla="*/ 470319 h 684873"/>
                <a:gd name="connsiteX1" fmla="*/ 84386 w 674254"/>
                <a:gd name="connsiteY1" fmla="*/ 473447 h 684873"/>
                <a:gd name="connsiteX2" fmla="*/ 121900 w 674254"/>
                <a:gd name="connsiteY2" fmla="*/ 532890 h 684873"/>
                <a:gd name="connsiteX3" fmla="*/ 122388 w 674254"/>
                <a:gd name="connsiteY3" fmla="*/ 539262 h 684873"/>
                <a:gd name="connsiteX4" fmla="*/ 221268 w 674254"/>
                <a:gd name="connsiteY4" fmla="*/ 673478 h 684873"/>
                <a:gd name="connsiteX5" fmla="*/ 280137 w 674254"/>
                <a:gd name="connsiteY5" fmla="*/ 684873 h 684873"/>
                <a:gd name="connsiteX6" fmla="*/ 385329 w 674254"/>
                <a:gd name="connsiteY6" fmla="*/ 644259 h 684873"/>
                <a:gd name="connsiteX7" fmla="*/ 390065 w 674254"/>
                <a:gd name="connsiteY7" fmla="*/ 640011 h 684873"/>
                <a:gd name="connsiteX8" fmla="*/ 458262 w 674254"/>
                <a:gd name="connsiteY8" fmla="*/ 622704 h 684873"/>
                <a:gd name="connsiteX9" fmla="*/ 464376 w 674254"/>
                <a:gd name="connsiteY9" fmla="*/ 624139 h 684873"/>
                <a:gd name="connsiteX10" fmla="*/ 622582 w 674254"/>
                <a:gd name="connsiteY10" fmla="*/ 571613 h 684873"/>
                <a:gd name="connsiteX11" fmla="*/ 645487 w 674254"/>
                <a:gd name="connsiteY11" fmla="*/ 406514 h 684873"/>
                <a:gd name="connsiteX12" fmla="*/ 650826 w 674254"/>
                <a:gd name="connsiteY12" fmla="*/ 325173 h 684873"/>
                <a:gd name="connsiteX13" fmla="*/ 649735 w 674254"/>
                <a:gd name="connsiteY13" fmla="*/ 158465 h 684873"/>
                <a:gd name="connsiteX14" fmla="*/ 499876 w 674254"/>
                <a:gd name="connsiteY14" fmla="*/ 85676 h 684873"/>
                <a:gd name="connsiteX15" fmla="*/ 493475 w 674254"/>
                <a:gd name="connsiteY15" fmla="*/ 86307 h 684873"/>
                <a:gd name="connsiteX16" fmla="*/ 428177 w 674254"/>
                <a:gd name="connsiteY16" fmla="*/ 60245 h 684873"/>
                <a:gd name="connsiteX17" fmla="*/ 424044 w 674254"/>
                <a:gd name="connsiteY17" fmla="*/ 55452 h 684873"/>
                <a:gd name="connsiteX18" fmla="*/ 265176 w 674254"/>
                <a:gd name="connsiteY18" fmla="*/ 4964 h 684873"/>
                <a:gd name="connsiteX19" fmla="*/ 149564 w 674254"/>
                <a:gd name="connsiteY19" fmla="*/ 125138 h 684873"/>
                <a:gd name="connsiteX20" fmla="*/ 148273 w 674254"/>
                <a:gd name="connsiteY20" fmla="*/ 131252 h 684873"/>
                <a:gd name="connsiteX21" fmla="*/ 103296 w 674254"/>
                <a:gd name="connsiteY21" fmla="*/ 185328 h 684873"/>
                <a:gd name="connsiteX22" fmla="*/ 97440 w 674254"/>
                <a:gd name="connsiteY22" fmla="*/ 187739 h 684873"/>
                <a:gd name="connsiteX23" fmla="*/ 339 w 674254"/>
                <a:gd name="connsiteY23" fmla="*/ 323218 h 684873"/>
                <a:gd name="connsiteX24" fmla="*/ 78924 w 674254"/>
                <a:gd name="connsiteY24" fmla="*/ 470323 h 684873"/>
                <a:gd name="connsiteX25" fmla="*/ 128990 w 674254"/>
                <a:gd name="connsiteY25" fmla="*/ 263807 h 684873"/>
                <a:gd name="connsiteX26" fmla="*/ 134845 w 674254"/>
                <a:gd name="connsiteY26" fmla="*/ 261396 h 684873"/>
                <a:gd name="connsiteX27" fmla="*/ 228846 w 674254"/>
                <a:gd name="connsiteY27" fmla="*/ 148394 h 684873"/>
                <a:gd name="connsiteX28" fmla="*/ 230138 w 674254"/>
                <a:gd name="connsiteY28" fmla="*/ 142280 h 684873"/>
                <a:gd name="connsiteX29" fmla="*/ 285476 w 674254"/>
                <a:gd name="connsiteY29" fmla="*/ 84789 h 684873"/>
                <a:gd name="connsiteX30" fmla="*/ 304793 w 674254"/>
                <a:gd name="connsiteY30" fmla="*/ 82349 h 684873"/>
                <a:gd name="connsiteX31" fmla="*/ 361538 w 674254"/>
                <a:gd name="connsiteY31" fmla="*/ 108985 h 684873"/>
                <a:gd name="connsiteX32" fmla="*/ 365671 w 674254"/>
                <a:gd name="connsiteY32" fmla="*/ 113807 h 684873"/>
                <a:gd name="connsiteX33" fmla="*/ 502011 w 674254"/>
                <a:gd name="connsiteY33" fmla="*/ 168256 h 684873"/>
                <a:gd name="connsiteX34" fmla="*/ 508411 w 674254"/>
                <a:gd name="connsiteY34" fmla="*/ 167625 h 684873"/>
                <a:gd name="connsiteX35" fmla="*/ 580196 w 674254"/>
                <a:gd name="connsiteY35" fmla="*/ 202470 h 684873"/>
                <a:gd name="connsiteX36" fmla="*/ 580713 w 674254"/>
                <a:gd name="connsiteY36" fmla="*/ 282260 h 684873"/>
                <a:gd name="connsiteX37" fmla="*/ 570294 w 674254"/>
                <a:gd name="connsiteY37" fmla="*/ 440011 h 684873"/>
                <a:gd name="connsiteX38" fmla="*/ 570322 w 674254"/>
                <a:gd name="connsiteY38" fmla="*/ 440040 h 684873"/>
                <a:gd name="connsiteX39" fmla="*/ 559358 w 674254"/>
                <a:gd name="connsiteY39" fmla="*/ 519088 h 684873"/>
                <a:gd name="connsiteX40" fmla="*/ 483587 w 674254"/>
                <a:gd name="connsiteY40" fmla="*/ 544232 h 684873"/>
                <a:gd name="connsiteX41" fmla="*/ 477473 w 674254"/>
                <a:gd name="connsiteY41" fmla="*/ 542768 h 684873"/>
                <a:gd name="connsiteX42" fmla="*/ 335079 w 674254"/>
                <a:gd name="connsiteY42" fmla="*/ 578905 h 684873"/>
                <a:gd name="connsiteX43" fmla="*/ 330343 w 674254"/>
                <a:gd name="connsiteY43" fmla="*/ 583153 h 684873"/>
                <a:gd name="connsiteX44" fmla="*/ 251809 w 674254"/>
                <a:gd name="connsiteY44" fmla="*/ 597159 h 684873"/>
                <a:gd name="connsiteX45" fmla="*/ 204479 w 674254"/>
                <a:gd name="connsiteY45" fmla="*/ 532980 h 684873"/>
                <a:gd name="connsiteX46" fmla="*/ 203991 w 674254"/>
                <a:gd name="connsiteY46" fmla="*/ 526608 h 684873"/>
                <a:gd name="connsiteX47" fmla="*/ 125604 w 674254"/>
                <a:gd name="connsiteY47" fmla="*/ 402297 h 684873"/>
                <a:gd name="connsiteX48" fmla="*/ 120150 w 674254"/>
                <a:gd name="connsiteY48" fmla="*/ 399169 h 684873"/>
                <a:gd name="connsiteX49" fmla="*/ 82550 w 674254"/>
                <a:gd name="connsiteY49" fmla="*/ 328761 h 684873"/>
                <a:gd name="connsiteX50" fmla="*/ 128991 w 674254"/>
                <a:gd name="connsiteY50" fmla="*/ 263808 h 684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674254" h="684873">
                  <a:moveTo>
                    <a:pt x="78932" y="470319"/>
                  </a:moveTo>
                  <a:lnTo>
                    <a:pt x="84386" y="473447"/>
                  </a:lnTo>
                  <a:cubicBezTo>
                    <a:pt x="105913" y="485904"/>
                    <a:pt x="119948" y="508149"/>
                    <a:pt x="121900" y="532890"/>
                  </a:cubicBezTo>
                  <a:lnTo>
                    <a:pt x="122388" y="539262"/>
                  </a:lnTo>
                  <a:cubicBezTo>
                    <a:pt x="127182" y="599623"/>
                    <a:pt x="165041" y="651030"/>
                    <a:pt x="221268" y="673478"/>
                  </a:cubicBezTo>
                  <a:cubicBezTo>
                    <a:pt x="240471" y="681142"/>
                    <a:pt x="260390" y="684873"/>
                    <a:pt x="280137" y="684873"/>
                  </a:cubicBezTo>
                  <a:cubicBezTo>
                    <a:pt x="318283" y="684873"/>
                    <a:pt x="355710" y="670924"/>
                    <a:pt x="385329" y="644259"/>
                  </a:cubicBezTo>
                  <a:lnTo>
                    <a:pt x="390065" y="640011"/>
                  </a:lnTo>
                  <a:cubicBezTo>
                    <a:pt x="408578" y="623422"/>
                    <a:pt x="434066" y="616877"/>
                    <a:pt x="458262" y="622704"/>
                  </a:cubicBezTo>
                  <a:lnTo>
                    <a:pt x="464376" y="624139"/>
                  </a:lnTo>
                  <a:cubicBezTo>
                    <a:pt x="523216" y="638318"/>
                    <a:pt x="583896" y="618140"/>
                    <a:pt x="622582" y="571613"/>
                  </a:cubicBezTo>
                  <a:cubicBezTo>
                    <a:pt x="661302" y="525087"/>
                    <a:pt x="670056" y="461829"/>
                    <a:pt x="645487" y="406514"/>
                  </a:cubicBezTo>
                  <a:cubicBezTo>
                    <a:pt x="633776" y="380165"/>
                    <a:pt x="635757" y="349740"/>
                    <a:pt x="650826" y="325173"/>
                  </a:cubicBezTo>
                  <a:cubicBezTo>
                    <a:pt x="682456" y="273538"/>
                    <a:pt x="682025" y="209672"/>
                    <a:pt x="649735" y="158465"/>
                  </a:cubicBezTo>
                  <a:cubicBezTo>
                    <a:pt x="617445" y="107258"/>
                    <a:pt x="559893" y="79101"/>
                    <a:pt x="499876" y="85676"/>
                  </a:cubicBezTo>
                  <a:lnTo>
                    <a:pt x="493475" y="86307"/>
                  </a:lnTo>
                  <a:cubicBezTo>
                    <a:pt x="468676" y="89005"/>
                    <a:pt x="444307" y="79160"/>
                    <a:pt x="428177" y="60245"/>
                  </a:cubicBezTo>
                  <a:lnTo>
                    <a:pt x="424044" y="55452"/>
                  </a:lnTo>
                  <a:cubicBezTo>
                    <a:pt x="384721" y="9413"/>
                    <a:pt x="323900" y="-9990"/>
                    <a:pt x="265176" y="4964"/>
                  </a:cubicBezTo>
                  <a:cubicBezTo>
                    <a:pt x="206507" y="19832"/>
                    <a:pt x="162217" y="65871"/>
                    <a:pt x="149564" y="125138"/>
                  </a:cubicBezTo>
                  <a:lnTo>
                    <a:pt x="148273" y="131252"/>
                  </a:lnTo>
                  <a:cubicBezTo>
                    <a:pt x="143078" y="155592"/>
                    <a:pt x="126258" y="175827"/>
                    <a:pt x="103296" y="185328"/>
                  </a:cubicBezTo>
                  <a:lnTo>
                    <a:pt x="97440" y="187739"/>
                  </a:lnTo>
                  <a:cubicBezTo>
                    <a:pt x="41528" y="210901"/>
                    <a:pt x="4299" y="262826"/>
                    <a:pt x="339" y="323218"/>
                  </a:cubicBezTo>
                  <a:cubicBezTo>
                    <a:pt x="-3565" y="383666"/>
                    <a:pt x="26515" y="440013"/>
                    <a:pt x="78924" y="470323"/>
                  </a:cubicBezTo>
                  <a:close/>
                  <a:moveTo>
                    <a:pt x="128990" y="263807"/>
                  </a:moveTo>
                  <a:lnTo>
                    <a:pt x="134845" y="261396"/>
                  </a:lnTo>
                  <a:cubicBezTo>
                    <a:pt x="182836" y="241506"/>
                    <a:pt x="217964" y="199284"/>
                    <a:pt x="228846" y="148394"/>
                  </a:cubicBezTo>
                  <a:lnTo>
                    <a:pt x="230138" y="142280"/>
                  </a:lnTo>
                  <a:cubicBezTo>
                    <a:pt x="236280" y="113520"/>
                    <a:pt x="256974" y="92022"/>
                    <a:pt x="285476" y="84789"/>
                  </a:cubicBezTo>
                  <a:cubicBezTo>
                    <a:pt x="291963" y="83153"/>
                    <a:pt x="298421" y="82349"/>
                    <a:pt x="304793" y="82349"/>
                  </a:cubicBezTo>
                  <a:cubicBezTo>
                    <a:pt x="326434" y="82349"/>
                    <a:pt x="346756" y="91677"/>
                    <a:pt x="361538" y="108985"/>
                  </a:cubicBezTo>
                  <a:lnTo>
                    <a:pt x="365671" y="113807"/>
                  </a:lnTo>
                  <a:cubicBezTo>
                    <a:pt x="399426" y="153302"/>
                    <a:pt x="450488" y="173566"/>
                    <a:pt x="502011" y="168256"/>
                  </a:cubicBezTo>
                  <a:lnTo>
                    <a:pt x="508411" y="167625"/>
                  </a:lnTo>
                  <a:cubicBezTo>
                    <a:pt x="537544" y="164582"/>
                    <a:pt x="564496" y="177585"/>
                    <a:pt x="580196" y="202470"/>
                  </a:cubicBezTo>
                  <a:cubicBezTo>
                    <a:pt x="595897" y="227355"/>
                    <a:pt x="596069" y="257205"/>
                    <a:pt x="580713" y="282260"/>
                  </a:cubicBezTo>
                  <a:cubicBezTo>
                    <a:pt x="551493" y="329907"/>
                    <a:pt x="547590" y="388892"/>
                    <a:pt x="570294" y="440011"/>
                  </a:cubicBezTo>
                  <a:cubicBezTo>
                    <a:pt x="570294" y="440040"/>
                    <a:pt x="570322" y="440040"/>
                    <a:pt x="570322" y="440040"/>
                  </a:cubicBezTo>
                  <a:cubicBezTo>
                    <a:pt x="582262" y="466935"/>
                    <a:pt x="578187" y="496469"/>
                    <a:pt x="559358" y="519088"/>
                  </a:cubicBezTo>
                  <a:cubicBezTo>
                    <a:pt x="540500" y="541677"/>
                    <a:pt x="512199" y="551121"/>
                    <a:pt x="483587" y="544232"/>
                  </a:cubicBezTo>
                  <a:lnTo>
                    <a:pt x="477473" y="542768"/>
                  </a:lnTo>
                  <a:cubicBezTo>
                    <a:pt x="426899" y="530685"/>
                    <a:pt x="373655" y="544146"/>
                    <a:pt x="335079" y="578905"/>
                  </a:cubicBezTo>
                  <a:lnTo>
                    <a:pt x="330343" y="583153"/>
                  </a:lnTo>
                  <a:cubicBezTo>
                    <a:pt x="308472" y="602814"/>
                    <a:pt x="279137" y="608095"/>
                    <a:pt x="251809" y="597159"/>
                  </a:cubicBezTo>
                  <a:cubicBezTo>
                    <a:pt x="224484" y="586252"/>
                    <a:pt x="206775" y="562228"/>
                    <a:pt x="204479" y="532980"/>
                  </a:cubicBezTo>
                  <a:lnTo>
                    <a:pt x="203991" y="526608"/>
                  </a:lnTo>
                  <a:cubicBezTo>
                    <a:pt x="199915" y="474800"/>
                    <a:pt x="170610" y="428331"/>
                    <a:pt x="125604" y="402297"/>
                  </a:cubicBezTo>
                  <a:lnTo>
                    <a:pt x="120150" y="399169"/>
                  </a:lnTo>
                  <a:cubicBezTo>
                    <a:pt x="94662" y="384444"/>
                    <a:pt x="80627" y="358124"/>
                    <a:pt x="82550" y="328761"/>
                  </a:cubicBezTo>
                  <a:cubicBezTo>
                    <a:pt x="84444" y="299313"/>
                    <a:pt x="101838" y="275059"/>
                    <a:pt x="128991" y="263808"/>
                  </a:cubicBezTo>
                  <a:close/>
                </a:path>
              </a:pathLst>
            </a:custGeom>
            <a:grpFill/>
            <a:ln w="7348" cap="flat">
              <a:solidFill>
                <a:srgbClr val="0414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E0292CC3-08A1-F11F-42EC-09564E48A208}"/>
                </a:ext>
              </a:extLst>
            </p:cNvPr>
            <p:cNvSpPr/>
            <p:nvPr/>
          </p:nvSpPr>
          <p:spPr>
            <a:xfrm>
              <a:off x="-3316261" y="1106857"/>
              <a:ext cx="699569" cy="82319"/>
            </a:xfrm>
            <a:custGeom>
              <a:avLst/>
              <a:gdLst>
                <a:gd name="connsiteX0" fmla="*/ 41160 w 699569"/>
                <a:gd name="connsiteY0" fmla="*/ 82320 h 82319"/>
                <a:gd name="connsiteX1" fmla="*/ 658409 w 699569"/>
                <a:gd name="connsiteY1" fmla="*/ 82320 h 82319"/>
                <a:gd name="connsiteX2" fmla="*/ 699569 w 699569"/>
                <a:gd name="connsiteY2" fmla="*/ 41160 h 82319"/>
                <a:gd name="connsiteX3" fmla="*/ 658409 w 699569"/>
                <a:gd name="connsiteY3" fmla="*/ 0 h 82319"/>
                <a:gd name="connsiteX4" fmla="*/ 41160 w 699569"/>
                <a:gd name="connsiteY4" fmla="*/ 0 h 82319"/>
                <a:gd name="connsiteX5" fmla="*/ 0 w 699569"/>
                <a:gd name="connsiteY5" fmla="*/ 41160 h 82319"/>
                <a:gd name="connsiteX6" fmla="*/ 41160 w 699569"/>
                <a:gd name="connsiteY6" fmla="*/ 82320 h 82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9569" h="82319">
                  <a:moveTo>
                    <a:pt x="41160" y="82320"/>
                  </a:moveTo>
                  <a:lnTo>
                    <a:pt x="658409" y="82320"/>
                  </a:lnTo>
                  <a:cubicBezTo>
                    <a:pt x="681142" y="82320"/>
                    <a:pt x="699569" y="63893"/>
                    <a:pt x="699569" y="41160"/>
                  </a:cubicBezTo>
                  <a:cubicBezTo>
                    <a:pt x="699569" y="18427"/>
                    <a:pt x="681142" y="0"/>
                    <a:pt x="658409" y="0"/>
                  </a:cubicBezTo>
                  <a:lnTo>
                    <a:pt x="41160" y="0"/>
                  </a:lnTo>
                  <a:cubicBezTo>
                    <a:pt x="18427" y="0"/>
                    <a:pt x="0" y="18427"/>
                    <a:pt x="0" y="41160"/>
                  </a:cubicBezTo>
                  <a:cubicBezTo>
                    <a:pt x="29" y="63893"/>
                    <a:pt x="18456" y="82320"/>
                    <a:pt x="41160" y="82320"/>
                  </a:cubicBezTo>
                  <a:close/>
                </a:path>
              </a:pathLst>
            </a:custGeom>
            <a:grpFill/>
            <a:ln w="7348" cap="flat">
              <a:solidFill>
                <a:srgbClr val="0414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8B1BBA98-2D69-49E3-0536-4CBE69CC90F3}"/>
                </a:ext>
              </a:extLst>
            </p:cNvPr>
            <p:cNvSpPr/>
            <p:nvPr/>
          </p:nvSpPr>
          <p:spPr>
            <a:xfrm>
              <a:off x="-3316261" y="1409442"/>
              <a:ext cx="699569" cy="82319"/>
            </a:xfrm>
            <a:custGeom>
              <a:avLst/>
              <a:gdLst>
                <a:gd name="connsiteX0" fmla="*/ 41160 w 699569"/>
                <a:gd name="connsiteY0" fmla="*/ 82320 h 82319"/>
                <a:gd name="connsiteX1" fmla="*/ 658409 w 699569"/>
                <a:gd name="connsiteY1" fmla="*/ 82320 h 82319"/>
                <a:gd name="connsiteX2" fmla="*/ 699569 w 699569"/>
                <a:gd name="connsiteY2" fmla="*/ 41160 h 82319"/>
                <a:gd name="connsiteX3" fmla="*/ 658409 w 699569"/>
                <a:gd name="connsiteY3" fmla="*/ 0 h 82319"/>
                <a:gd name="connsiteX4" fmla="*/ 41160 w 699569"/>
                <a:gd name="connsiteY4" fmla="*/ 29 h 82319"/>
                <a:gd name="connsiteX5" fmla="*/ 0 w 699569"/>
                <a:gd name="connsiteY5" fmla="*/ 41188 h 82319"/>
                <a:gd name="connsiteX6" fmla="*/ 41160 w 699569"/>
                <a:gd name="connsiteY6" fmla="*/ 82320 h 82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9569" h="82319">
                  <a:moveTo>
                    <a:pt x="41160" y="82320"/>
                  </a:moveTo>
                  <a:lnTo>
                    <a:pt x="658409" y="82320"/>
                  </a:lnTo>
                  <a:cubicBezTo>
                    <a:pt x="681142" y="82320"/>
                    <a:pt x="699569" y="63893"/>
                    <a:pt x="699569" y="41160"/>
                  </a:cubicBezTo>
                  <a:cubicBezTo>
                    <a:pt x="699569" y="18427"/>
                    <a:pt x="681142" y="0"/>
                    <a:pt x="658409" y="0"/>
                  </a:cubicBezTo>
                  <a:lnTo>
                    <a:pt x="41160" y="29"/>
                  </a:lnTo>
                  <a:cubicBezTo>
                    <a:pt x="18427" y="29"/>
                    <a:pt x="0" y="18456"/>
                    <a:pt x="0" y="41188"/>
                  </a:cubicBezTo>
                  <a:cubicBezTo>
                    <a:pt x="29" y="63892"/>
                    <a:pt x="18456" y="82320"/>
                    <a:pt x="41160" y="82320"/>
                  </a:cubicBezTo>
                  <a:close/>
                </a:path>
              </a:pathLst>
            </a:custGeom>
            <a:grpFill/>
            <a:ln w="7348" cap="flat">
              <a:solidFill>
                <a:srgbClr val="0414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0BFDB0A-E7B4-BC51-4DD4-7BD9FE7B23B4}"/>
                </a:ext>
              </a:extLst>
            </p:cNvPr>
            <p:cNvSpPr/>
            <p:nvPr/>
          </p:nvSpPr>
          <p:spPr>
            <a:xfrm>
              <a:off x="-3938735" y="1091960"/>
              <a:ext cx="399832" cy="399776"/>
            </a:xfrm>
            <a:custGeom>
              <a:avLst/>
              <a:gdLst>
                <a:gd name="connsiteX0" fmla="*/ 387722 w 399832"/>
                <a:gd name="connsiteY0" fmla="*/ 12055 h 399776"/>
                <a:gd name="connsiteX1" fmla="*/ 329541 w 399832"/>
                <a:gd name="connsiteY1" fmla="*/ 12055 h 399776"/>
                <a:gd name="connsiteX2" fmla="*/ 199888 w 399832"/>
                <a:gd name="connsiteY2" fmla="*/ 141708 h 399776"/>
                <a:gd name="connsiteX3" fmla="*/ 70235 w 399832"/>
                <a:gd name="connsiteY3" fmla="*/ 12055 h 399776"/>
                <a:gd name="connsiteX4" fmla="*/ 12055 w 399832"/>
                <a:gd name="connsiteY4" fmla="*/ 12055 h 399776"/>
                <a:gd name="connsiteX5" fmla="*/ 12055 w 399832"/>
                <a:gd name="connsiteY5" fmla="*/ 70235 h 399776"/>
                <a:gd name="connsiteX6" fmla="*/ 141708 w 399832"/>
                <a:gd name="connsiteY6" fmla="*/ 199888 h 399776"/>
                <a:gd name="connsiteX7" fmla="*/ 12055 w 399832"/>
                <a:gd name="connsiteY7" fmla="*/ 329541 h 399776"/>
                <a:gd name="connsiteX8" fmla="*/ 12055 w 399832"/>
                <a:gd name="connsiteY8" fmla="*/ 387722 h 399776"/>
                <a:gd name="connsiteX9" fmla="*/ 41159 w 399832"/>
                <a:gd name="connsiteY9" fmla="*/ 399777 h 399776"/>
                <a:gd name="connsiteX10" fmla="*/ 70263 w 399832"/>
                <a:gd name="connsiteY10" fmla="*/ 387722 h 399776"/>
                <a:gd name="connsiteX11" fmla="*/ 199916 w 399832"/>
                <a:gd name="connsiteY11" fmla="*/ 258069 h 399776"/>
                <a:gd name="connsiteX12" fmla="*/ 329569 w 399832"/>
                <a:gd name="connsiteY12" fmla="*/ 387722 h 399776"/>
                <a:gd name="connsiteX13" fmla="*/ 358673 w 399832"/>
                <a:gd name="connsiteY13" fmla="*/ 399777 h 399776"/>
                <a:gd name="connsiteX14" fmla="*/ 387778 w 399832"/>
                <a:gd name="connsiteY14" fmla="*/ 387722 h 399776"/>
                <a:gd name="connsiteX15" fmla="*/ 387778 w 399832"/>
                <a:gd name="connsiteY15" fmla="*/ 329541 h 399776"/>
                <a:gd name="connsiteX16" fmla="*/ 258125 w 399832"/>
                <a:gd name="connsiteY16" fmla="*/ 199888 h 399776"/>
                <a:gd name="connsiteX17" fmla="*/ 387778 w 399832"/>
                <a:gd name="connsiteY17" fmla="*/ 70235 h 399776"/>
                <a:gd name="connsiteX18" fmla="*/ 387720 w 399832"/>
                <a:gd name="connsiteY18" fmla="*/ 12055 h 399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99832" h="399776">
                  <a:moveTo>
                    <a:pt x="387722" y="12055"/>
                  </a:moveTo>
                  <a:cubicBezTo>
                    <a:pt x="371648" y="-4018"/>
                    <a:pt x="345615" y="-4018"/>
                    <a:pt x="329541" y="12055"/>
                  </a:cubicBezTo>
                  <a:lnTo>
                    <a:pt x="199888" y="141708"/>
                  </a:lnTo>
                  <a:lnTo>
                    <a:pt x="70235" y="12055"/>
                  </a:lnTo>
                  <a:cubicBezTo>
                    <a:pt x="54162" y="-4018"/>
                    <a:pt x="28129" y="-4018"/>
                    <a:pt x="12055" y="12055"/>
                  </a:cubicBezTo>
                  <a:cubicBezTo>
                    <a:pt x="-4018" y="28129"/>
                    <a:pt x="-4018" y="54162"/>
                    <a:pt x="12055" y="70235"/>
                  </a:cubicBezTo>
                  <a:lnTo>
                    <a:pt x="141708" y="199888"/>
                  </a:lnTo>
                  <a:lnTo>
                    <a:pt x="12055" y="329541"/>
                  </a:lnTo>
                  <a:cubicBezTo>
                    <a:pt x="-4018" y="345615"/>
                    <a:pt x="-4018" y="371648"/>
                    <a:pt x="12055" y="387722"/>
                  </a:cubicBezTo>
                  <a:cubicBezTo>
                    <a:pt x="20092" y="395759"/>
                    <a:pt x="30625" y="399777"/>
                    <a:pt x="41159" y="399777"/>
                  </a:cubicBezTo>
                  <a:cubicBezTo>
                    <a:pt x="51693" y="399777"/>
                    <a:pt x="62227" y="395758"/>
                    <a:pt x="70263" y="387722"/>
                  </a:cubicBezTo>
                  <a:lnTo>
                    <a:pt x="199916" y="258069"/>
                  </a:lnTo>
                  <a:lnTo>
                    <a:pt x="329569" y="387722"/>
                  </a:lnTo>
                  <a:cubicBezTo>
                    <a:pt x="337606" y="395759"/>
                    <a:pt x="348140" y="399777"/>
                    <a:pt x="358673" y="399777"/>
                  </a:cubicBezTo>
                  <a:cubicBezTo>
                    <a:pt x="369207" y="399777"/>
                    <a:pt x="379741" y="395758"/>
                    <a:pt x="387778" y="387722"/>
                  </a:cubicBezTo>
                  <a:cubicBezTo>
                    <a:pt x="403851" y="371648"/>
                    <a:pt x="403851" y="345615"/>
                    <a:pt x="387778" y="329541"/>
                  </a:cubicBezTo>
                  <a:lnTo>
                    <a:pt x="258125" y="199888"/>
                  </a:lnTo>
                  <a:lnTo>
                    <a:pt x="387778" y="70235"/>
                  </a:lnTo>
                  <a:cubicBezTo>
                    <a:pt x="403794" y="54162"/>
                    <a:pt x="403794" y="28129"/>
                    <a:pt x="387720" y="12055"/>
                  </a:cubicBezTo>
                  <a:close/>
                </a:path>
              </a:pathLst>
            </a:custGeom>
            <a:grpFill/>
            <a:ln w="7348" cap="flat">
              <a:solidFill>
                <a:srgbClr val="0414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145A1491-67C2-A0BB-BE03-D5E0447CD51C}"/>
                </a:ext>
              </a:extLst>
            </p:cNvPr>
            <p:cNvSpPr/>
            <p:nvPr/>
          </p:nvSpPr>
          <p:spPr>
            <a:xfrm>
              <a:off x="-3938735" y="1914846"/>
              <a:ext cx="399832" cy="399776"/>
            </a:xfrm>
            <a:custGeom>
              <a:avLst/>
              <a:gdLst>
                <a:gd name="connsiteX0" fmla="*/ 387722 w 399832"/>
                <a:gd name="connsiteY0" fmla="*/ 12055 h 399776"/>
                <a:gd name="connsiteX1" fmla="*/ 329541 w 399832"/>
                <a:gd name="connsiteY1" fmla="*/ 12055 h 399776"/>
                <a:gd name="connsiteX2" fmla="*/ 199888 w 399832"/>
                <a:gd name="connsiteY2" fmla="*/ 141708 h 399776"/>
                <a:gd name="connsiteX3" fmla="*/ 70235 w 399832"/>
                <a:gd name="connsiteY3" fmla="*/ 12055 h 399776"/>
                <a:gd name="connsiteX4" fmla="*/ 12055 w 399832"/>
                <a:gd name="connsiteY4" fmla="*/ 12055 h 399776"/>
                <a:gd name="connsiteX5" fmla="*/ 12055 w 399832"/>
                <a:gd name="connsiteY5" fmla="*/ 70235 h 399776"/>
                <a:gd name="connsiteX6" fmla="*/ 141708 w 399832"/>
                <a:gd name="connsiteY6" fmla="*/ 199888 h 399776"/>
                <a:gd name="connsiteX7" fmla="*/ 12055 w 399832"/>
                <a:gd name="connsiteY7" fmla="*/ 329541 h 399776"/>
                <a:gd name="connsiteX8" fmla="*/ 12055 w 399832"/>
                <a:gd name="connsiteY8" fmla="*/ 387722 h 399776"/>
                <a:gd name="connsiteX9" fmla="*/ 41159 w 399832"/>
                <a:gd name="connsiteY9" fmla="*/ 399777 h 399776"/>
                <a:gd name="connsiteX10" fmla="*/ 70263 w 399832"/>
                <a:gd name="connsiteY10" fmla="*/ 387722 h 399776"/>
                <a:gd name="connsiteX11" fmla="*/ 199916 w 399832"/>
                <a:gd name="connsiteY11" fmla="*/ 258069 h 399776"/>
                <a:gd name="connsiteX12" fmla="*/ 329569 w 399832"/>
                <a:gd name="connsiteY12" fmla="*/ 387722 h 399776"/>
                <a:gd name="connsiteX13" fmla="*/ 358673 w 399832"/>
                <a:gd name="connsiteY13" fmla="*/ 399777 h 399776"/>
                <a:gd name="connsiteX14" fmla="*/ 387778 w 399832"/>
                <a:gd name="connsiteY14" fmla="*/ 387722 h 399776"/>
                <a:gd name="connsiteX15" fmla="*/ 387778 w 399832"/>
                <a:gd name="connsiteY15" fmla="*/ 329541 h 399776"/>
                <a:gd name="connsiteX16" fmla="*/ 258125 w 399832"/>
                <a:gd name="connsiteY16" fmla="*/ 199888 h 399776"/>
                <a:gd name="connsiteX17" fmla="*/ 387778 w 399832"/>
                <a:gd name="connsiteY17" fmla="*/ 70235 h 399776"/>
                <a:gd name="connsiteX18" fmla="*/ 387720 w 399832"/>
                <a:gd name="connsiteY18" fmla="*/ 12055 h 399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99832" h="399776">
                  <a:moveTo>
                    <a:pt x="387722" y="12055"/>
                  </a:moveTo>
                  <a:cubicBezTo>
                    <a:pt x="371648" y="-4018"/>
                    <a:pt x="345615" y="-4018"/>
                    <a:pt x="329541" y="12055"/>
                  </a:cubicBezTo>
                  <a:lnTo>
                    <a:pt x="199888" y="141708"/>
                  </a:lnTo>
                  <a:lnTo>
                    <a:pt x="70235" y="12055"/>
                  </a:lnTo>
                  <a:cubicBezTo>
                    <a:pt x="54162" y="-4018"/>
                    <a:pt x="28129" y="-4018"/>
                    <a:pt x="12055" y="12055"/>
                  </a:cubicBezTo>
                  <a:cubicBezTo>
                    <a:pt x="-4018" y="28129"/>
                    <a:pt x="-4018" y="54162"/>
                    <a:pt x="12055" y="70235"/>
                  </a:cubicBezTo>
                  <a:lnTo>
                    <a:pt x="141708" y="199888"/>
                  </a:lnTo>
                  <a:lnTo>
                    <a:pt x="12055" y="329541"/>
                  </a:lnTo>
                  <a:cubicBezTo>
                    <a:pt x="-4018" y="345615"/>
                    <a:pt x="-4018" y="371648"/>
                    <a:pt x="12055" y="387722"/>
                  </a:cubicBezTo>
                  <a:cubicBezTo>
                    <a:pt x="20092" y="395759"/>
                    <a:pt x="30625" y="399777"/>
                    <a:pt x="41159" y="399777"/>
                  </a:cubicBezTo>
                  <a:cubicBezTo>
                    <a:pt x="51693" y="399777"/>
                    <a:pt x="62227" y="395758"/>
                    <a:pt x="70263" y="387722"/>
                  </a:cubicBezTo>
                  <a:lnTo>
                    <a:pt x="199916" y="258069"/>
                  </a:lnTo>
                  <a:lnTo>
                    <a:pt x="329569" y="387722"/>
                  </a:lnTo>
                  <a:cubicBezTo>
                    <a:pt x="337606" y="395759"/>
                    <a:pt x="348140" y="399777"/>
                    <a:pt x="358673" y="399777"/>
                  </a:cubicBezTo>
                  <a:cubicBezTo>
                    <a:pt x="369207" y="399777"/>
                    <a:pt x="379741" y="395758"/>
                    <a:pt x="387778" y="387722"/>
                  </a:cubicBezTo>
                  <a:cubicBezTo>
                    <a:pt x="403851" y="371648"/>
                    <a:pt x="403851" y="345615"/>
                    <a:pt x="387778" y="329541"/>
                  </a:cubicBezTo>
                  <a:lnTo>
                    <a:pt x="258125" y="199888"/>
                  </a:lnTo>
                  <a:lnTo>
                    <a:pt x="387778" y="70235"/>
                  </a:lnTo>
                  <a:cubicBezTo>
                    <a:pt x="403794" y="54162"/>
                    <a:pt x="403794" y="28129"/>
                    <a:pt x="387720" y="12055"/>
                  </a:cubicBezTo>
                  <a:close/>
                </a:path>
              </a:pathLst>
            </a:custGeom>
            <a:grpFill/>
            <a:ln w="7348" cap="flat">
              <a:solidFill>
                <a:srgbClr val="0414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D85DF71-94EA-D64C-B277-E8E1B6A6B62F}"/>
                </a:ext>
              </a:extLst>
            </p:cNvPr>
            <p:cNvSpPr/>
            <p:nvPr/>
          </p:nvSpPr>
          <p:spPr>
            <a:xfrm>
              <a:off x="-3938735" y="2737733"/>
              <a:ext cx="399832" cy="399776"/>
            </a:xfrm>
            <a:custGeom>
              <a:avLst/>
              <a:gdLst>
                <a:gd name="connsiteX0" fmla="*/ 387722 w 399832"/>
                <a:gd name="connsiteY0" fmla="*/ 12055 h 399776"/>
                <a:gd name="connsiteX1" fmla="*/ 329541 w 399832"/>
                <a:gd name="connsiteY1" fmla="*/ 12055 h 399776"/>
                <a:gd name="connsiteX2" fmla="*/ 199888 w 399832"/>
                <a:gd name="connsiteY2" fmla="*/ 141708 h 399776"/>
                <a:gd name="connsiteX3" fmla="*/ 70235 w 399832"/>
                <a:gd name="connsiteY3" fmla="*/ 12055 h 399776"/>
                <a:gd name="connsiteX4" fmla="*/ 12055 w 399832"/>
                <a:gd name="connsiteY4" fmla="*/ 12055 h 399776"/>
                <a:gd name="connsiteX5" fmla="*/ 12055 w 399832"/>
                <a:gd name="connsiteY5" fmla="*/ 70235 h 399776"/>
                <a:gd name="connsiteX6" fmla="*/ 141708 w 399832"/>
                <a:gd name="connsiteY6" fmla="*/ 199888 h 399776"/>
                <a:gd name="connsiteX7" fmla="*/ 12055 w 399832"/>
                <a:gd name="connsiteY7" fmla="*/ 329541 h 399776"/>
                <a:gd name="connsiteX8" fmla="*/ 12055 w 399832"/>
                <a:gd name="connsiteY8" fmla="*/ 387721 h 399776"/>
                <a:gd name="connsiteX9" fmla="*/ 41159 w 399832"/>
                <a:gd name="connsiteY9" fmla="*/ 399777 h 399776"/>
                <a:gd name="connsiteX10" fmla="*/ 70263 w 399832"/>
                <a:gd name="connsiteY10" fmla="*/ 387721 h 399776"/>
                <a:gd name="connsiteX11" fmla="*/ 199916 w 399832"/>
                <a:gd name="connsiteY11" fmla="*/ 258069 h 399776"/>
                <a:gd name="connsiteX12" fmla="*/ 329569 w 399832"/>
                <a:gd name="connsiteY12" fmla="*/ 387721 h 399776"/>
                <a:gd name="connsiteX13" fmla="*/ 358673 w 399832"/>
                <a:gd name="connsiteY13" fmla="*/ 399777 h 399776"/>
                <a:gd name="connsiteX14" fmla="*/ 387778 w 399832"/>
                <a:gd name="connsiteY14" fmla="*/ 387721 h 399776"/>
                <a:gd name="connsiteX15" fmla="*/ 387778 w 399832"/>
                <a:gd name="connsiteY15" fmla="*/ 329541 h 399776"/>
                <a:gd name="connsiteX16" fmla="*/ 258125 w 399832"/>
                <a:gd name="connsiteY16" fmla="*/ 199888 h 399776"/>
                <a:gd name="connsiteX17" fmla="*/ 387778 w 399832"/>
                <a:gd name="connsiteY17" fmla="*/ 70235 h 399776"/>
                <a:gd name="connsiteX18" fmla="*/ 387720 w 399832"/>
                <a:gd name="connsiteY18" fmla="*/ 12055 h 399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99832" h="399776">
                  <a:moveTo>
                    <a:pt x="387722" y="12055"/>
                  </a:moveTo>
                  <a:cubicBezTo>
                    <a:pt x="371648" y="-4018"/>
                    <a:pt x="345615" y="-4018"/>
                    <a:pt x="329541" y="12055"/>
                  </a:cubicBezTo>
                  <a:lnTo>
                    <a:pt x="199888" y="141708"/>
                  </a:lnTo>
                  <a:lnTo>
                    <a:pt x="70235" y="12055"/>
                  </a:lnTo>
                  <a:cubicBezTo>
                    <a:pt x="54162" y="-4018"/>
                    <a:pt x="28129" y="-4018"/>
                    <a:pt x="12055" y="12055"/>
                  </a:cubicBezTo>
                  <a:cubicBezTo>
                    <a:pt x="-4018" y="28129"/>
                    <a:pt x="-4018" y="54162"/>
                    <a:pt x="12055" y="70235"/>
                  </a:cubicBezTo>
                  <a:lnTo>
                    <a:pt x="141708" y="199888"/>
                  </a:lnTo>
                  <a:lnTo>
                    <a:pt x="12055" y="329541"/>
                  </a:lnTo>
                  <a:cubicBezTo>
                    <a:pt x="-4018" y="345615"/>
                    <a:pt x="-4018" y="371648"/>
                    <a:pt x="12055" y="387721"/>
                  </a:cubicBezTo>
                  <a:cubicBezTo>
                    <a:pt x="20092" y="395759"/>
                    <a:pt x="30625" y="399777"/>
                    <a:pt x="41159" y="399777"/>
                  </a:cubicBezTo>
                  <a:cubicBezTo>
                    <a:pt x="51693" y="399777"/>
                    <a:pt x="62227" y="395758"/>
                    <a:pt x="70263" y="387721"/>
                  </a:cubicBezTo>
                  <a:lnTo>
                    <a:pt x="199916" y="258069"/>
                  </a:lnTo>
                  <a:lnTo>
                    <a:pt x="329569" y="387721"/>
                  </a:lnTo>
                  <a:cubicBezTo>
                    <a:pt x="337606" y="395759"/>
                    <a:pt x="348140" y="399777"/>
                    <a:pt x="358673" y="399777"/>
                  </a:cubicBezTo>
                  <a:cubicBezTo>
                    <a:pt x="369207" y="399777"/>
                    <a:pt x="379741" y="395758"/>
                    <a:pt x="387778" y="387721"/>
                  </a:cubicBezTo>
                  <a:cubicBezTo>
                    <a:pt x="403851" y="371648"/>
                    <a:pt x="403851" y="345615"/>
                    <a:pt x="387778" y="329541"/>
                  </a:cubicBezTo>
                  <a:lnTo>
                    <a:pt x="258125" y="199888"/>
                  </a:lnTo>
                  <a:lnTo>
                    <a:pt x="387778" y="70235"/>
                  </a:lnTo>
                  <a:cubicBezTo>
                    <a:pt x="403794" y="54162"/>
                    <a:pt x="403794" y="28129"/>
                    <a:pt x="387720" y="12055"/>
                  </a:cubicBezTo>
                  <a:close/>
                </a:path>
              </a:pathLst>
            </a:custGeom>
            <a:grpFill/>
            <a:ln w="7348" cap="flat">
              <a:solidFill>
                <a:srgbClr val="0414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7390B201-8A5E-653F-5416-31B4C8AFF425}"/>
              </a:ext>
            </a:extLst>
          </p:cNvPr>
          <p:cNvGrpSpPr/>
          <p:nvPr/>
        </p:nvGrpSpPr>
        <p:grpSpPr>
          <a:xfrm>
            <a:off x="6979497" y="854801"/>
            <a:ext cx="1988413" cy="3336210"/>
            <a:chOff x="6979497" y="896366"/>
            <a:chExt cx="1988413" cy="3336210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3EDEBCC-3836-AA30-9489-044A124CCEC5}"/>
                </a:ext>
              </a:extLst>
            </p:cNvPr>
            <p:cNvSpPr txBox="1"/>
            <p:nvPr/>
          </p:nvSpPr>
          <p:spPr>
            <a:xfrm>
              <a:off x="6979497" y="2324361"/>
              <a:ext cx="1988413" cy="190821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4143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Repurposing did </a:t>
              </a:r>
              <a:b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4143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</a:b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4143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not follow standard drug development tenets:</a:t>
              </a: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200" b="1" dirty="0">
                  <a:solidFill>
                    <a:srgbClr val="FF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olubility and formulation </a:t>
              </a:r>
              <a:r>
                <a:rPr lang="en-US" sz="1200" dirty="0">
                  <a:solidFill>
                    <a:srgbClr val="FF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for IV product</a:t>
              </a: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strike="noStrike" kern="0" cap="none" spc="0" normalizeH="0" baseline="0" noProof="0" dirty="0">
                  <a:ln>
                    <a:noFill/>
                  </a:ln>
                  <a:solidFill>
                    <a:srgbClr val="04143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Dose selection</a:t>
              </a:r>
              <a:r>
                <a:rPr lang="en-US" sz="1200" dirty="0">
                  <a:solidFill>
                    <a:srgbClr val="04143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&amp; </a:t>
              </a:r>
              <a:r>
                <a:rPr kumimoji="0" lang="en-US" sz="1200" b="0" i="0" strike="noStrike" kern="0" cap="none" spc="0" normalizeH="0" baseline="0" noProof="0" dirty="0">
                  <a:ln>
                    <a:noFill/>
                  </a:ln>
                  <a:solidFill>
                    <a:srgbClr val="04143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regimen </a:t>
              </a: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4143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not based on PKPD</a:t>
              </a: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200" dirty="0">
                  <a:solidFill>
                    <a:srgbClr val="04143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arly use of biomarkers</a:t>
              </a: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AAEBFC9-4364-BCD3-CE38-C899FDCBDA72}"/>
                </a:ext>
              </a:extLst>
            </p:cNvPr>
            <p:cNvSpPr/>
            <p:nvPr/>
          </p:nvSpPr>
          <p:spPr>
            <a:xfrm>
              <a:off x="7449116" y="997570"/>
              <a:ext cx="1048531" cy="1048535"/>
            </a:xfrm>
            <a:custGeom>
              <a:avLst/>
              <a:gdLst>
                <a:gd name="connsiteX0" fmla="*/ 1871075 w 2090660"/>
                <a:gd name="connsiteY0" fmla="*/ 2090660 h 2090659"/>
                <a:gd name="connsiteX1" fmla="*/ 219584 w 2090660"/>
                <a:gd name="connsiteY1" fmla="*/ 2090660 h 2090659"/>
                <a:gd name="connsiteX2" fmla="*/ 0 w 2090660"/>
                <a:gd name="connsiteY2" fmla="*/ 1871075 h 2090659"/>
                <a:gd name="connsiteX3" fmla="*/ 0 w 2090660"/>
                <a:gd name="connsiteY3" fmla="*/ 219584 h 2090659"/>
                <a:gd name="connsiteX4" fmla="*/ 219584 w 2090660"/>
                <a:gd name="connsiteY4" fmla="*/ 0 h 2090659"/>
                <a:gd name="connsiteX5" fmla="*/ 1871075 w 2090660"/>
                <a:gd name="connsiteY5" fmla="*/ 0 h 2090659"/>
                <a:gd name="connsiteX6" fmla="*/ 2090660 w 2090660"/>
                <a:gd name="connsiteY6" fmla="*/ 219584 h 2090659"/>
                <a:gd name="connsiteX7" fmla="*/ 2090660 w 2090660"/>
                <a:gd name="connsiteY7" fmla="*/ 1871075 h 2090659"/>
                <a:gd name="connsiteX8" fmla="*/ 1871075 w 2090660"/>
                <a:gd name="connsiteY8" fmla="*/ 2090660 h 2090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0660" h="2090659">
                  <a:moveTo>
                    <a:pt x="1871075" y="2090660"/>
                  </a:moveTo>
                  <a:lnTo>
                    <a:pt x="219584" y="2090660"/>
                  </a:lnTo>
                  <a:cubicBezTo>
                    <a:pt x="98193" y="2090660"/>
                    <a:pt x="0" y="1992149"/>
                    <a:pt x="0" y="1871075"/>
                  </a:cubicBezTo>
                  <a:lnTo>
                    <a:pt x="0" y="219584"/>
                  </a:lnTo>
                  <a:cubicBezTo>
                    <a:pt x="0" y="98193"/>
                    <a:pt x="98511" y="0"/>
                    <a:pt x="219584" y="0"/>
                  </a:cubicBezTo>
                  <a:lnTo>
                    <a:pt x="1871075" y="0"/>
                  </a:lnTo>
                  <a:cubicBezTo>
                    <a:pt x="1992467" y="0"/>
                    <a:pt x="2090660" y="98511"/>
                    <a:pt x="2090660" y="219584"/>
                  </a:cubicBezTo>
                  <a:lnTo>
                    <a:pt x="2090660" y="1871075"/>
                  </a:lnTo>
                  <a:cubicBezTo>
                    <a:pt x="2090660" y="1992466"/>
                    <a:pt x="1992467" y="2090660"/>
                    <a:pt x="1871075" y="2090660"/>
                  </a:cubicBezTo>
                  <a:close/>
                </a:path>
              </a:pathLst>
            </a:custGeom>
            <a:solidFill>
              <a:schemeClr val="bg1"/>
            </a:solidFill>
            <a:ln w="3178" cap="flat">
              <a:noFill/>
              <a:prstDash val="solid"/>
              <a:miter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547D840-1718-15D4-F4A1-CE85FF4C7AF7}"/>
                </a:ext>
              </a:extLst>
            </p:cNvPr>
            <p:cNvSpPr/>
            <p:nvPr/>
          </p:nvSpPr>
          <p:spPr>
            <a:xfrm>
              <a:off x="7348551" y="897003"/>
              <a:ext cx="1249344" cy="1249668"/>
            </a:xfrm>
            <a:custGeom>
              <a:avLst/>
              <a:gdLst>
                <a:gd name="connsiteX0" fmla="*/ 2236520 w 2491060"/>
                <a:gd name="connsiteY0" fmla="*/ 2491695 h 2491694"/>
                <a:gd name="connsiteX1" fmla="*/ 255176 w 2491060"/>
                <a:gd name="connsiteY1" fmla="*/ 2491695 h 2491694"/>
                <a:gd name="connsiteX2" fmla="*/ 0 w 2491060"/>
                <a:gd name="connsiteY2" fmla="*/ 2236520 h 2491694"/>
                <a:gd name="connsiteX3" fmla="*/ 0 w 2491060"/>
                <a:gd name="connsiteY3" fmla="*/ 255176 h 2491694"/>
                <a:gd name="connsiteX4" fmla="*/ 255176 w 2491060"/>
                <a:gd name="connsiteY4" fmla="*/ 0 h 2491694"/>
                <a:gd name="connsiteX5" fmla="*/ 1245689 w 2491060"/>
                <a:gd name="connsiteY5" fmla="*/ 0 h 2491694"/>
                <a:gd name="connsiteX6" fmla="*/ 1266026 w 2491060"/>
                <a:gd name="connsiteY6" fmla="*/ 20338 h 2491694"/>
                <a:gd name="connsiteX7" fmla="*/ 1245689 w 2491060"/>
                <a:gd name="connsiteY7" fmla="*/ 40676 h 2491694"/>
                <a:gd name="connsiteX8" fmla="*/ 254858 w 2491060"/>
                <a:gd name="connsiteY8" fmla="*/ 40676 h 2491694"/>
                <a:gd name="connsiteX9" fmla="*/ 40676 w 2491060"/>
                <a:gd name="connsiteY9" fmla="*/ 254858 h 2491694"/>
                <a:gd name="connsiteX10" fmla="*/ 40676 w 2491060"/>
                <a:gd name="connsiteY10" fmla="*/ 2236202 h 2491694"/>
                <a:gd name="connsiteX11" fmla="*/ 254858 w 2491060"/>
                <a:gd name="connsiteY11" fmla="*/ 2450384 h 2491694"/>
                <a:gd name="connsiteX12" fmla="*/ 2236202 w 2491060"/>
                <a:gd name="connsiteY12" fmla="*/ 2450384 h 2491694"/>
                <a:gd name="connsiteX13" fmla="*/ 2450385 w 2491060"/>
                <a:gd name="connsiteY13" fmla="*/ 2236202 h 2491694"/>
                <a:gd name="connsiteX14" fmla="*/ 2450385 w 2491060"/>
                <a:gd name="connsiteY14" fmla="*/ 1246006 h 2491694"/>
                <a:gd name="connsiteX15" fmla="*/ 2470722 w 2491060"/>
                <a:gd name="connsiteY15" fmla="*/ 1225669 h 2491694"/>
                <a:gd name="connsiteX16" fmla="*/ 2491060 w 2491060"/>
                <a:gd name="connsiteY16" fmla="*/ 1246006 h 2491694"/>
                <a:gd name="connsiteX17" fmla="*/ 2491060 w 2491060"/>
                <a:gd name="connsiteY17" fmla="*/ 2236837 h 2491694"/>
                <a:gd name="connsiteX18" fmla="*/ 2236520 w 2491060"/>
                <a:gd name="connsiteY18" fmla="*/ 2491695 h 2491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491060" h="2491694">
                  <a:moveTo>
                    <a:pt x="2236520" y="2491695"/>
                  </a:moveTo>
                  <a:lnTo>
                    <a:pt x="255176" y="2491695"/>
                  </a:lnTo>
                  <a:cubicBezTo>
                    <a:pt x="114718" y="2491695"/>
                    <a:pt x="0" y="2377295"/>
                    <a:pt x="0" y="2236520"/>
                  </a:cubicBezTo>
                  <a:lnTo>
                    <a:pt x="0" y="255176"/>
                  </a:lnTo>
                  <a:cubicBezTo>
                    <a:pt x="0" y="114400"/>
                    <a:pt x="114400" y="0"/>
                    <a:pt x="255176" y="0"/>
                  </a:cubicBezTo>
                  <a:lnTo>
                    <a:pt x="1245689" y="0"/>
                  </a:lnTo>
                  <a:cubicBezTo>
                    <a:pt x="1256811" y="0"/>
                    <a:pt x="1266026" y="9216"/>
                    <a:pt x="1266026" y="20338"/>
                  </a:cubicBezTo>
                  <a:cubicBezTo>
                    <a:pt x="1266026" y="31460"/>
                    <a:pt x="1256811" y="40676"/>
                    <a:pt x="1245689" y="40676"/>
                  </a:cubicBezTo>
                  <a:lnTo>
                    <a:pt x="254858" y="40676"/>
                  </a:lnTo>
                  <a:cubicBezTo>
                    <a:pt x="136644" y="40676"/>
                    <a:pt x="40676" y="136644"/>
                    <a:pt x="40676" y="254858"/>
                  </a:cubicBezTo>
                  <a:lnTo>
                    <a:pt x="40676" y="2236202"/>
                  </a:lnTo>
                  <a:cubicBezTo>
                    <a:pt x="40676" y="2354415"/>
                    <a:pt x="136644" y="2450384"/>
                    <a:pt x="254858" y="2450384"/>
                  </a:cubicBezTo>
                  <a:lnTo>
                    <a:pt x="2236202" y="2450384"/>
                  </a:lnTo>
                  <a:cubicBezTo>
                    <a:pt x="2354415" y="2450384"/>
                    <a:pt x="2450385" y="2354415"/>
                    <a:pt x="2450385" y="2236202"/>
                  </a:cubicBezTo>
                  <a:lnTo>
                    <a:pt x="2450385" y="1246006"/>
                  </a:lnTo>
                  <a:cubicBezTo>
                    <a:pt x="2450385" y="1234884"/>
                    <a:pt x="2459600" y="1225669"/>
                    <a:pt x="2470722" y="1225669"/>
                  </a:cubicBezTo>
                  <a:cubicBezTo>
                    <a:pt x="2481845" y="1225669"/>
                    <a:pt x="2491060" y="1234884"/>
                    <a:pt x="2491060" y="1246006"/>
                  </a:cubicBezTo>
                  <a:lnTo>
                    <a:pt x="2491060" y="2236837"/>
                  </a:lnTo>
                  <a:cubicBezTo>
                    <a:pt x="2491378" y="2377295"/>
                    <a:pt x="2376978" y="2491695"/>
                    <a:pt x="2236520" y="2491695"/>
                  </a:cubicBezTo>
                  <a:close/>
                </a:path>
              </a:pathLst>
            </a:custGeom>
            <a:solidFill>
              <a:srgbClr val="002060"/>
            </a:solidFill>
            <a:ln w="317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0344CF62-26C9-BB9E-4561-7B8468269DA1}"/>
                </a:ext>
              </a:extLst>
            </p:cNvPr>
            <p:cNvSpPr/>
            <p:nvPr/>
          </p:nvSpPr>
          <p:spPr>
            <a:xfrm>
              <a:off x="7962465" y="896366"/>
              <a:ext cx="636390" cy="590011"/>
            </a:xfrm>
            <a:custGeom>
              <a:avLst/>
              <a:gdLst>
                <a:gd name="connsiteX0" fmla="*/ 1246961 w 1268894"/>
                <a:gd name="connsiteY0" fmla="*/ 1176413 h 1176413"/>
                <a:gd name="connsiteX1" fmla="*/ 1225033 w 1268894"/>
                <a:gd name="connsiteY1" fmla="*/ 1154486 h 1176413"/>
                <a:gd name="connsiteX2" fmla="*/ 1225033 w 1268894"/>
                <a:gd name="connsiteY2" fmla="*/ 1137326 h 1176413"/>
                <a:gd name="connsiteX3" fmla="*/ 1246961 w 1268894"/>
                <a:gd name="connsiteY3" fmla="*/ 1115400 h 1176413"/>
                <a:gd name="connsiteX4" fmla="*/ 1268887 w 1268894"/>
                <a:gd name="connsiteY4" fmla="*/ 1137326 h 1176413"/>
                <a:gd name="connsiteX5" fmla="*/ 1268887 w 1268894"/>
                <a:gd name="connsiteY5" fmla="*/ 1154169 h 1176413"/>
                <a:gd name="connsiteX6" fmla="*/ 1246961 w 1268894"/>
                <a:gd name="connsiteY6" fmla="*/ 1176413 h 1176413"/>
                <a:gd name="connsiteX7" fmla="*/ 1246961 w 1268894"/>
                <a:gd name="connsiteY7" fmla="*/ 989560 h 1176413"/>
                <a:gd name="connsiteX8" fmla="*/ 1225033 w 1268894"/>
                <a:gd name="connsiteY8" fmla="*/ 967633 h 1176413"/>
                <a:gd name="connsiteX9" fmla="*/ 1225033 w 1268894"/>
                <a:gd name="connsiteY9" fmla="*/ 950791 h 1176413"/>
                <a:gd name="connsiteX10" fmla="*/ 1246961 w 1268894"/>
                <a:gd name="connsiteY10" fmla="*/ 928864 h 1176413"/>
                <a:gd name="connsiteX11" fmla="*/ 1268887 w 1268894"/>
                <a:gd name="connsiteY11" fmla="*/ 950791 h 1176413"/>
                <a:gd name="connsiteX12" fmla="*/ 1268887 w 1268894"/>
                <a:gd name="connsiteY12" fmla="*/ 967633 h 1176413"/>
                <a:gd name="connsiteX13" fmla="*/ 1246961 w 1268894"/>
                <a:gd name="connsiteY13" fmla="*/ 989560 h 1176413"/>
                <a:gd name="connsiteX14" fmla="*/ 1246961 w 1268894"/>
                <a:gd name="connsiteY14" fmla="*/ 803024 h 1176413"/>
                <a:gd name="connsiteX15" fmla="*/ 1225033 w 1268894"/>
                <a:gd name="connsiteY15" fmla="*/ 781098 h 1176413"/>
                <a:gd name="connsiteX16" fmla="*/ 1225033 w 1268894"/>
                <a:gd name="connsiteY16" fmla="*/ 764255 h 1176413"/>
                <a:gd name="connsiteX17" fmla="*/ 1246961 w 1268894"/>
                <a:gd name="connsiteY17" fmla="*/ 742329 h 1176413"/>
                <a:gd name="connsiteX18" fmla="*/ 1268887 w 1268894"/>
                <a:gd name="connsiteY18" fmla="*/ 764255 h 1176413"/>
                <a:gd name="connsiteX19" fmla="*/ 1268887 w 1268894"/>
                <a:gd name="connsiteY19" fmla="*/ 781098 h 1176413"/>
                <a:gd name="connsiteX20" fmla="*/ 1246961 w 1268894"/>
                <a:gd name="connsiteY20" fmla="*/ 803024 h 1176413"/>
                <a:gd name="connsiteX21" fmla="*/ 1246961 w 1268894"/>
                <a:gd name="connsiteY21" fmla="*/ 616171 h 1176413"/>
                <a:gd name="connsiteX22" fmla="*/ 1225033 w 1268894"/>
                <a:gd name="connsiteY22" fmla="*/ 594244 h 1176413"/>
                <a:gd name="connsiteX23" fmla="*/ 1225033 w 1268894"/>
                <a:gd name="connsiteY23" fmla="*/ 577402 h 1176413"/>
                <a:gd name="connsiteX24" fmla="*/ 1246961 w 1268894"/>
                <a:gd name="connsiteY24" fmla="*/ 555475 h 1176413"/>
                <a:gd name="connsiteX25" fmla="*/ 1268887 w 1268894"/>
                <a:gd name="connsiteY25" fmla="*/ 577402 h 1176413"/>
                <a:gd name="connsiteX26" fmla="*/ 1268887 w 1268894"/>
                <a:gd name="connsiteY26" fmla="*/ 594244 h 1176413"/>
                <a:gd name="connsiteX27" fmla="*/ 1246961 w 1268894"/>
                <a:gd name="connsiteY27" fmla="*/ 616171 h 1176413"/>
                <a:gd name="connsiteX28" fmla="*/ 1246961 w 1268894"/>
                <a:gd name="connsiteY28" fmla="*/ 429635 h 1176413"/>
                <a:gd name="connsiteX29" fmla="*/ 1225033 w 1268894"/>
                <a:gd name="connsiteY29" fmla="*/ 407709 h 1176413"/>
                <a:gd name="connsiteX30" fmla="*/ 1225033 w 1268894"/>
                <a:gd name="connsiteY30" fmla="*/ 390549 h 1176413"/>
                <a:gd name="connsiteX31" fmla="*/ 1246961 w 1268894"/>
                <a:gd name="connsiteY31" fmla="*/ 368622 h 1176413"/>
                <a:gd name="connsiteX32" fmla="*/ 1268887 w 1268894"/>
                <a:gd name="connsiteY32" fmla="*/ 390549 h 1176413"/>
                <a:gd name="connsiteX33" fmla="*/ 1268887 w 1268894"/>
                <a:gd name="connsiteY33" fmla="*/ 407391 h 1176413"/>
                <a:gd name="connsiteX34" fmla="*/ 1246961 w 1268894"/>
                <a:gd name="connsiteY34" fmla="*/ 429635 h 1176413"/>
                <a:gd name="connsiteX35" fmla="*/ 1244418 w 1268894"/>
                <a:gd name="connsiteY35" fmla="*/ 243100 h 1176413"/>
                <a:gd name="connsiteX36" fmla="*/ 1222491 w 1268894"/>
                <a:gd name="connsiteY36" fmla="*/ 224351 h 1176413"/>
                <a:gd name="connsiteX37" fmla="*/ 1219631 w 1268894"/>
                <a:gd name="connsiteY37" fmla="*/ 209416 h 1176413"/>
                <a:gd name="connsiteX38" fmla="*/ 1236156 w 1268894"/>
                <a:gd name="connsiteY38" fmla="*/ 183040 h 1176413"/>
                <a:gd name="connsiteX39" fmla="*/ 1262531 w 1268894"/>
                <a:gd name="connsiteY39" fmla="*/ 199564 h 1176413"/>
                <a:gd name="connsiteX40" fmla="*/ 1266027 w 1268894"/>
                <a:gd name="connsiteY40" fmla="*/ 217678 h 1176413"/>
                <a:gd name="connsiteX41" fmla="*/ 1247596 w 1268894"/>
                <a:gd name="connsiteY41" fmla="*/ 242782 h 1176413"/>
                <a:gd name="connsiteX42" fmla="*/ 1244418 w 1268894"/>
                <a:gd name="connsiteY42" fmla="*/ 243100 h 1176413"/>
                <a:gd name="connsiteX43" fmla="*/ 1149402 w 1268894"/>
                <a:gd name="connsiteY43" fmla="*/ 88024 h 1176413"/>
                <a:gd name="connsiteX44" fmla="*/ 1136374 w 1268894"/>
                <a:gd name="connsiteY44" fmla="*/ 83893 h 1176413"/>
                <a:gd name="connsiteX45" fmla="*/ 1123663 w 1268894"/>
                <a:gd name="connsiteY45" fmla="*/ 75313 h 1176413"/>
                <a:gd name="connsiteX46" fmla="*/ 1116354 w 1268894"/>
                <a:gd name="connsiteY46" fmla="*/ 44807 h 1176413"/>
                <a:gd name="connsiteX47" fmla="*/ 1146861 w 1268894"/>
                <a:gd name="connsiteY47" fmla="*/ 37498 h 1176413"/>
                <a:gd name="connsiteX48" fmla="*/ 1162431 w 1268894"/>
                <a:gd name="connsiteY48" fmla="*/ 47667 h 1176413"/>
                <a:gd name="connsiteX49" fmla="*/ 1167516 w 1268894"/>
                <a:gd name="connsiteY49" fmla="*/ 78491 h 1176413"/>
                <a:gd name="connsiteX50" fmla="*/ 1149402 w 1268894"/>
                <a:gd name="connsiteY50" fmla="*/ 88024 h 1176413"/>
                <a:gd name="connsiteX51" fmla="*/ 972083 w 1268894"/>
                <a:gd name="connsiteY51" fmla="*/ 43853 h 1176413"/>
                <a:gd name="connsiteX52" fmla="*/ 955240 w 1268894"/>
                <a:gd name="connsiteY52" fmla="*/ 43853 h 1176413"/>
                <a:gd name="connsiteX53" fmla="*/ 933313 w 1268894"/>
                <a:gd name="connsiteY53" fmla="*/ 21927 h 1176413"/>
                <a:gd name="connsiteX54" fmla="*/ 955240 w 1268894"/>
                <a:gd name="connsiteY54" fmla="*/ 0 h 1176413"/>
                <a:gd name="connsiteX55" fmla="*/ 972083 w 1268894"/>
                <a:gd name="connsiteY55" fmla="*/ 0 h 1176413"/>
                <a:gd name="connsiteX56" fmla="*/ 994009 w 1268894"/>
                <a:gd name="connsiteY56" fmla="*/ 21927 h 1176413"/>
                <a:gd name="connsiteX57" fmla="*/ 972083 w 1268894"/>
                <a:gd name="connsiteY57" fmla="*/ 43853 h 1176413"/>
                <a:gd name="connsiteX58" fmla="*/ 785547 w 1268894"/>
                <a:gd name="connsiteY58" fmla="*/ 43853 h 1176413"/>
                <a:gd name="connsiteX59" fmla="*/ 768705 w 1268894"/>
                <a:gd name="connsiteY59" fmla="*/ 43853 h 1176413"/>
                <a:gd name="connsiteX60" fmla="*/ 746778 w 1268894"/>
                <a:gd name="connsiteY60" fmla="*/ 21927 h 1176413"/>
                <a:gd name="connsiteX61" fmla="*/ 768705 w 1268894"/>
                <a:gd name="connsiteY61" fmla="*/ 0 h 1176413"/>
                <a:gd name="connsiteX62" fmla="*/ 785547 w 1268894"/>
                <a:gd name="connsiteY62" fmla="*/ 0 h 1176413"/>
                <a:gd name="connsiteX63" fmla="*/ 807474 w 1268894"/>
                <a:gd name="connsiteY63" fmla="*/ 21927 h 1176413"/>
                <a:gd name="connsiteX64" fmla="*/ 785547 w 1268894"/>
                <a:gd name="connsiteY64" fmla="*/ 43853 h 1176413"/>
                <a:gd name="connsiteX65" fmla="*/ 598694 w 1268894"/>
                <a:gd name="connsiteY65" fmla="*/ 43853 h 1176413"/>
                <a:gd name="connsiteX66" fmla="*/ 581851 w 1268894"/>
                <a:gd name="connsiteY66" fmla="*/ 43853 h 1176413"/>
                <a:gd name="connsiteX67" fmla="*/ 559924 w 1268894"/>
                <a:gd name="connsiteY67" fmla="*/ 21927 h 1176413"/>
                <a:gd name="connsiteX68" fmla="*/ 581851 w 1268894"/>
                <a:gd name="connsiteY68" fmla="*/ 0 h 1176413"/>
                <a:gd name="connsiteX69" fmla="*/ 598694 w 1268894"/>
                <a:gd name="connsiteY69" fmla="*/ 0 h 1176413"/>
                <a:gd name="connsiteX70" fmla="*/ 620620 w 1268894"/>
                <a:gd name="connsiteY70" fmla="*/ 21927 h 1176413"/>
                <a:gd name="connsiteX71" fmla="*/ 598694 w 1268894"/>
                <a:gd name="connsiteY71" fmla="*/ 43853 h 1176413"/>
                <a:gd name="connsiteX72" fmla="*/ 412158 w 1268894"/>
                <a:gd name="connsiteY72" fmla="*/ 43853 h 1176413"/>
                <a:gd name="connsiteX73" fmla="*/ 395316 w 1268894"/>
                <a:gd name="connsiteY73" fmla="*/ 43853 h 1176413"/>
                <a:gd name="connsiteX74" fmla="*/ 373389 w 1268894"/>
                <a:gd name="connsiteY74" fmla="*/ 21927 h 1176413"/>
                <a:gd name="connsiteX75" fmla="*/ 395316 w 1268894"/>
                <a:gd name="connsiteY75" fmla="*/ 0 h 1176413"/>
                <a:gd name="connsiteX76" fmla="*/ 412158 w 1268894"/>
                <a:gd name="connsiteY76" fmla="*/ 0 h 1176413"/>
                <a:gd name="connsiteX77" fmla="*/ 434085 w 1268894"/>
                <a:gd name="connsiteY77" fmla="*/ 21927 h 1176413"/>
                <a:gd name="connsiteX78" fmla="*/ 412158 w 1268894"/>
                <a:gd name="connsiteY78" fmla="*/ 43853 h 1176413"/>
                <a:gd name="connsiteX79" fmla="*/ 225305 w 1268894"/>
                <a:gd name="connsiteY79" fmla="*/ 43853 h 1176413"/>
                <a:gd name="connsiteX80" fmla="*/ 208463 w 1268894"/>
                <a:gd name="connsiteY80" fmla="*/ 43853 h 1176413"/>
                <a:gd name="connsiteX81" fmla="*/ 186535 w 1268894"/>
                <a:gd name="connsiteY81" fmla="*/ 21927 h 1176413"/>
                <a:gd name="connsiteX82" fmla="*/ 208463 w 1268894"/>
                <a:gd name="connsiteY82" fmla="*/ 0 h 1176413"/>
                <a:gd name="connsiteX83" fmla="*/ 225305 w 1268894"/>
                <a:gd name="connsiteY83" fmla="*/ 0 h 1176413"/>
                <a:gd name="connsiteX84" fmla="*/ 247231 w 1268894"/>
                <a:gd name="connsiteY84" fmla="*/ 21927 h 1176413"/>
                <a:gd name="connsiteX85" fmla="*/ 225305 w 1268894"/>
                <a:gd name="connsiteY85" fmla="*/ 43853 h 1176413"/>
                <a:gd name="connsiteX86" fmla="*/ 38769 w 1268894"/>
                <a:gd name="connsiteY86" fmla="*/ 43853 h 1176413"/>
                <a:gd name="connsiteX87" fmla="*/ 21927 w 1268894"/>
                <a:gd name="connsiteY87" fmla="*/ 43853 h 1176413"/>
                <a:gd name="connsiteX88" fmla="*/ 0 w 1268894"/>
                <a:gd name="connsiteY88" fmla="*/ 21927 h 1176413"/>
                <a:gd name="connsiteX89" fmla="*/ 21927 w 1268894"/>
                <a:gd name="connsiteY89" fmla="*/ 0 h 1176413"/>
                <a:gd name="connsiteX90" fmla="*/ 38769 w 1268894"/>
                <a:gd name="connsiteY90" fmla="*/ 0 h 1176413"/>
                <a:gd name="connsiteX91" fmla="*/ 60696 w 1268894"/>
                <a:gd name="connsiteY91" fmla="*/ 21927 h 1176413"/>
                <a:gd name="connsiteX92" fmla="*/ 38769 w 1268894"/>
                <a:gd name="connsiteY92" fmla="*/ 43853 h 1176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1268894" h="1176413">
                  <a:moveTo>
                    <a:pt x="1246961" y="1176413"/>
                  </a:moveTo>
                  <a:cubicBezTo>
                    <a:pt x="1234885" y="1176413"/>
                    <a:pt x="1225033" y="1166562"/>
                    <a:pt x="1225033" y="1154486"/>
                  </a:cubicBezTo>
                  <a:lnTo>
                    <a:pt x="1225033" y="1137326"/>
                  </a:lnTo>
                  <a:cubicBezTo>
                    <a:pt x="1225033" y="1125251"/>
                    <a:pt x="1234885" y="1115400"/>
                    <a:pt x="1246961" y="1115400"/>
                  </a:cubicBezTo>
                  <a:cubicBezTo>
                    <a:pt x="1259035" y="1115400"/>
                    <a:pt x="1268887" y="1125251"/>
                    <a:pt x="1268887" y="1137326"/>
                  </a:cubicBezTo>
                  <a:lnTo>
                    <a:pt x="1268887" y="1154169"/>
                  </a:lnTo>
                  <a:cubicBezTo>
                    <a:pt x="1269205" y="1166562"/>
                    <a:pt x="1259354" y="1176413"/>
                    <a:pt x="1246961" y="1176413"/>
                  </a:cubicBezTo>
                  <a:close/>
                  <a:moveTo>
                    <a:pt x="1246961" y="989560"/>
                  </a:moveTo>
                  <a:cubicBezTo>
                    <a:pt x="1234885" y="989560"/>
                    <a:pt x="1225033" y="979709"/>
                    <a:pt x="1225033" y="967633"/>
                  </a:cubicBezTo>
                  <a:lnTo>
                    <a:pt x="1225033" y="950791"/>
                  </a:lnTo>
                  <a:cubicBezTo>
                    <a:pt x="1225033" y="938715"/>
                    <a:pt x="1234885" y="928864"/>
                    <a:pt x="1246961" y="928864"/>
                  </a:cubicBezTo>
                  <a:cubicBezTo>
                    <a:pt x="1259035" y="928864"/>
                    <a:pt x="1268887" y="938715"/>
                    <a:pt x="1268887" y="950791"/>
                  </a:cubicBezTo>
                  <a:lnTo>
                    <a:pt x="1268887" y="967633"/>
                  </a:lnTo>
                  <a:cubicBezTo>
                    <a:pt x="1269205" y="979709"/>
                    <a:pt x="1259354" y="989560"/>
                    <a:pt x="1246961" y="989560"/>
                  </a:cubicBezTo>
                  <a:close/>
                  <a:moveTo>
                    <a:pt x="1246961" y="803024"/>
                  </a:moveTo>
                  <a:cubicBezTo>
                    <a:pt x="1234885" y="803024"/>
                    <a:pt x="1225033" y="793173"/>
                    <a:pt x="1225033" y="781098"/>
                  </a:cubicBezTo>
                  <a:lnTo>
                    <a:pt x="1225033" y="764255"/>
                  </a:lnTo>
                  <a:cubicBezTo>
                    <a:pt x="1225033" y="752180"/>
                    <a:pt x="1234885" y="742329"/>
                    <a:pt x="1246961" y="742329"/>
                  </a:cubicBezTo>
                  <a:cubicBezTo>
                    <a:pt x="1259035" y="742329"/>
                    <a:pt x="1268887" y="752180"/>
                    <a:pt x="1268887" y="764255"/>
                  </a:cubicBezTo>
                  <a:lnTo>
                    <a:pt x="1268887" y="781098"/>
                  </a:lnTo>
                  <a:cubicBezTo>
                    <a:pt x="1269205" y="793173"/>
                    <a:pt x="1259354" y="803024"/>
                    <a:pt x="1246961" y="803024"/>
                  </a:cubicBezTo>
                  <a:close/>
                  <a:moveTo>
                    <a:pt x="1246961" y="616171"/>
                  </a:moveTo>
                  <a:cubicBezTo>
                    <a:pt x="1234885" y="616171"/>
                    <a:pt x="1225033" y="606320"/>
                    <a:pt x="1225033" y="594244"/>
                  </a:cubicBezTo>
                  <a:lnTo>
                    <a:pt x="1225033" y="577402"/>
                  </a:lnTo>
                  <a:cubicBezTo>
                    <a:pt x="1225033" y="565327"/>
                    <a:pt x="1234885" y="555475"/>
                    <a:pt x="1246961" y="555475"/>
                  </a:cubicBezTo>
                  <a:cubicBezTo>
                    <a:pt x="1259035" y="555475"/>
                    <a:pt x="1268887" y="565327"/>
                    <a:pt x="1268887" y="577402"/>
                  </a:cubicBezTo>
                  <a:lnTo>
                    <a:pt x="1268887" y="594244"/>
                  </a:lnTo>
                  <a:cubicBezTo>
                    <a:pt x="1269205" y="606320"/>
                    <a:pt x="1259354" y="616171"/>
                    <a:pt x="1246961" y="616171"/>
                  </a:cubicBezTo>
                  <a:close/>
                  <a:moveTo>
                    <a:pt x="1246961" y="429635"/>
                  </a:moveTo>
                  <a:cubicBezTo>
                    <a:pt x="1234885" y="429635"/>
                    <a:pt x="1225033" y="419784"/>
                    <a:pt x="1225033" y="407709"/>
                  </a:cubicBezTo>
                  <a:lnTo>
                    <a:pt x="1225033" y="390549"/>
                  </a:lnTo>
                  <a:cubicBezTo>
                    <a:pt x="1225033" y="378473"/>
                    <a:pt x="1234885" y="368622"/>
                    <a:pt x="1246961" y="368622"/>
                  </a:cubicBezTo>
                  <a:cubicBezTo>
                    <a:pt x="1259035" y="368622"/>
                    <a:pt x="1268887" y="378473"/>
                    <a:pt x="1268887" y="390549"/>
                  </a:cubicBezTo>
                  <a:lnTo>
                    <a:pt x="1268887" y="407391"/>
                  </a:lnTo>
                  <a:cubicBezTo>
                    <a:pt x="1269205" y="419784"/>
                    <a:pt x="1259354" y="429635"/>
                    <a:pt x="1246961" y="429635"/>
                  </a:cubicBezTo>
                  <a:close/>
                  <a:moveTo>
                    <a:pt x="1244418" y="243100"/>
                  </a:moveTo>
                  <a:cubicBezTo>
                    <a:pt x="1233613" y="243100"/>
                    <a:pt x="1224398" y="235156"/>
                    <a:pt x="1222491" y="224351"/>
                  </a:cubicBezTo>
                  <a:cubicBezTo>
                    <a:pt x="1221856" y="219267"/>
                    <a:pt x="1220902" y="214182"/>
                    <a:pt x="1219631" y="209416"/>
                  </a:cubicBezTo>
                  <a:cubicBezTo>
                    <a:pt x="1217089" y="197658"/>
                    <a:pt x="1224398" y="185582"/>
                    <a:pt x="1236156" y="183040"/>
                  </a:cubicBezTo>
                  <a:cubicBezTo>
                    <a:pt x="1247913" y="180498"/>
                    <a:pt x="1259989" y="187807"/>
                    <a:pt x="1262531" y="199564"/>
                  </a:cubicBezTo>
                  <a:cubicBezTo>
                    <a:pt x="1263802" y="205602"/>
                    <a:pt x="1265074" y="211640"/>
                    <a:pt x="1266027" y="217678"/>
                  </a:cubicBezTo>
                  <a:cubicBezTo>
                    <a:pt x="1267933" y="229753"/>
                    <a:pt x="1259672" y="240876"/>
                    <a:pt x="1247596" y="242782"/>
                  </a:cubicBezTo>
                  <a:cubicBezTo>
                    <a:pt x="1246642" y="242782"/>
                    <a:pt x="1245372" y="243100"/>
                    <a:pt x="1244418" y="243100"/>
                  </a:cubicBezTo>
                  <a:close/>
                  <a:moveTo>
                    <a:pt x="1149402" y="88024"/>
                  </a:moveTo>
                  <a:cubicBezTo>
                    <a:pt x="1144954" y="88024"/>
                    <a:pt x="1140505" y="86753"/>
                    <a:pt x="1136374" y="83893"/>
                  </a:cubicBezTo>
                  <a:cubicBezTo>
                    <a:pt x="1132242" y="81033"/>
                    <a:pt x="1128111" y="78173"/>
                    <a:pt x="1123663" y="75313"/>
                  </a:cubicBezTo>
                  <a:cubicBezTo>
                    <a:pt x="1113176" y="68958"/>
                    <a:pt x="1109998" y="55293"/>
                    <a:pt x="1116354" y="44807"/>
                  </a:cubicBezTo>
                  <a:cubicBezTo>
                    <a:pt x="1122709" y="34320"/>
                    <a:pt x="1136374" y="31142"/>
                    <a:pt x="1146861" y="37498"/>
                  </a:cubicBezTo>
                  <a:cubicBezTo>
                    <a:pt x="1152263" y="40676"/>
                    <a:pt x="1157347" y="44171"/>
                    <a:pt x="1162431" y="47667"/>
                  </a:cubicBezTo>
                  <a:cubicBezTo>
                    <a:pt x="1172283" y="54658"/>
                    <a:pt x="1174507" y="68640"/>
                    <a:pt x="1167516" y="78491"/>
                  </a:cubicBezTo>
                  <a:cubicBezTo>
                    <a:pt x="1163067" y="84847"/>
                    <a:pt x="1156394" y="88024"/>
                    <a:pt x="1149402" y="88024"/>
                  </a:cubicBezTo>
                  <a:close/>
                  <a:moveTo>
                    <a:pt x="972083" y="43853"/>
                  </a:moveTo>
                  <a:lnTo>
                    <a:pt x="955240" y="43853"/>
                  </a:lnTo>
                  <a:cubicBezTo>
                    <a:pt x="943165" y="43853"/>
                    <a:pt x="933313" y="34002"/>
                    <a:pt x="933313" y="21927"/>
                  </a:cubicBezTo>
                  <a:cubicBezTo>
                    <a:pt x="933313" y="9851"/>
                    <a:pt x="943165" y="0"/>
                    <a:pt x="955240" y="0"/>
                  </a:cubicBezTo>
                  <a:lnTo>
                    <a:pt x="972083" y="0"/>
                  </a:lnTo>
                  <a:cubicBezTo>
                    <a:pt x="984158" y="0"/>
                    <a:pt x="994009" y="9851"/>
                    <a:pt x="994009" y="21927"/>
                  </a:cubicBezTo>
                  <a:cubicBezTo>
                    <a:pt x="994327" y="34002"/>
                    <a:pt x="984158" y="43853"/>
                    <a:pt x="972083" y="43853"/>
                  </a:cubicBezTo>
                  <a:close/>
                  <a:moveTo>
                    <a:pt x="785547" y="43853"/>
                  </a:moveTo>
                  <a:lnTo>
                    <a:pt x="768705" y="43853"/>
                  </a:lnTo>
                  <a:cubicBezTo>
                    <a:pt x="756629" y="43853"/>
                    <a:pt x="746778" y="34002"/>
                    <a:pt x="746778" y="21927"/>
                  </a:cubicBezTo>
                  <a:cubicBezTo>
                    <a:pt x="746778" y="9851"/>
                    <a:pt x="756629" y="0"/>
                    <a:pt x="768705" y="0"/>
                  </a:cubicBezTo>
                  <a:lnTo>
                    <a:pt x="785547" y="0"/>
                  </a:lnTo>
                  <a:cubicBezTo>
                    <a:pt x="797622" y="0"/>
                    <a:pt x="807474" y="9851"/>
                    <a:pt x="807474" y="21927"/>
                  </a:cubicBezTo>
                  <a:cubicBezTo>
                    <a:pt x="807474" y="34002"/>
                    <a:pt x="797622" y="43853"/>
                    <a:pt x="785547" y="43853"/>
                  </a:cubicBezTo>
                  <a:close/>
                  <a:moveTo>
                    <a:pt x="598694" y="43853"/>
                  </a:moveTo>
                  <a:lnTo>
                    <a:pt x="581851" y="43853"/>
                  </a:lnTo>
                  <a:cubicBezTo>
                    <a:pt x="569776" y="43853"/>
                    <a:pt x="559924" y="34002"/>
                    <a:pt x="559924" y="21927"/>
                  </a:cubicBezTo>
                  <a:cubicBezTo>
                    <a:pt x="559924" y="9851"/>
                    <a:pt x="569776" y="0"/>
                    <a:pt x="581851" y="0"/>
                  </a:cubicBezTo>
                  <a:lnTo>
                    <a:pt x="598694" y="0"/>
                  </a:lnTo>
                  <a:cubicBezTo>
                    <a:pt x="610769" y="0"/>
                    <a:pt x="620620" y="9851"/>
                    <a:pt x="620620" y="21927"/>
                  </a:cubicBezTo>
                  <a:cubicBezTo>
                    <a:pt x="620938" y="34002"/>
                    <a:pt x="610769" y="43853"/>
                    <a:pt x="598694" y="43853"/>
                  </a:cubicBezTo>
                  <a:close/>
                  <a:moveTo>
                    <a:pt x="412158" y="43853"/>
                  </a:moveTo>
                  <a:lnTo>
                    <a:pt x="395316" y="43853"/>
                  </a:lnTo>
                  <a:cubicBezTo>
                    <a:pt x="383240" y="43853"/>
                    <a:pt x="373389" y="34002"/>
                    <a:pt x="373389" y="21927"/>
                  </a:cubicBezTo>
                  <a:cubicBezTo>
                    <a:pt x="373389" y="9851"/>
                    <a:pt x="383240" y="0"/>
                    <a:pt x="395316" y="0"/>
                  </a:cubicBezTo>
                  <a:lnTo>
                    <a:pt x="412158" y="0"/>
                  </a:lnTo>
                  <a:cubicBezTo>
                    <a:pt x="424233" y="0"/>
                    <a:pt x="434085" y="9851"/>
                    <a:pt x="434085" y="21927"/>
                  </a:cubicBezTo>
                  <a:cubicBezTo>
                    <a:pt x="434085" y="34002"/>
                    <a:pt x="424233" y="43853"/>
                    <a:pt x="412158" y="43853"/>
                  </a:cubicBezTo>
                  <a:close/>
                  <a:moveTo>
                    <a:pt x="225305" y="43853"/>
                  </a:moveTo>
                  <a:lnTo>
                    <a:pt x="208463" y="43853"/>
                  </a:lnTo>
                  <a:cubicBezTo>
                    <a:pt x="196387" y="43853"/>
                    <a:pt x="186535" y="34002"/>
                    <a:pt x="186535" y="21927"/>
                  </a:cubicBezTo>
                  <a:cubicBezTo>
                    <a:pt x="186535" y="9851"/>
                    <a:pt x="196387" y="0"/>
                    <a:pt x="208463" y="0"/>
                  </a:cubicBezTo>
                  <a:lnTo>
                    <a:pt x="225305" y="0"/>
                  </a:lnTo>
                  <a:cubicBezTo>
                    <a:pt x="237380" y="0"/>
                    <a:pt x="247231" y="9851"/>
                    <a:pt x="247231" y="21927"/>
                  </a:cubicBezTo>
                  <a:cubicBezTo>
                    <a:pt x="247549" y="34002"/>
                    <a:pt x="237380" y="43853"/>
                    <a:pt x="225305" y="43853"/>
                  </a:cubicBezTo>
                  <a:close/>
                  <a:moveTo>
                    <a:pt x="38769" y="43853"/>
                  </a:moveTo>
                  <a:lnTo>
                    <a:pt x="21927" y="43853"/>
                  </a:lnTo>
                  <a:cubicBezTo>
                    <a:pt x="9851" y="43853"/>
                    <a:pt x="0" y="34002"/>
                    <a:pt x="0" y="21927"/>
                  </a:cubicBezTo>
                  <a:cubicBezTo>
                    <a:pt x="0" y="9851"/>
                    <a:pt x="9851" y="0"/>
                    <a:pt x="21927" y="0"/>
                  </a:cubicBezTo>
                  <a:lnTo>
                    <a:pt x="38769" y="0"/>
                  </a:lnTo>
                  <a:cubicBezTo>
                    <a:pt x="50844" y="0"/>
                    <a:pt x="60696" y="9851"/>
                    <a:pt x="60696" y="21927"/>
                  </a:cubicBezTo>
                  <a:cubicBezTo>
                    <a:pt x="60696" y="34002"/>
                    <a:pt x="50844" y="43853"/>
                    <a:pt x="38769" y="43853"/>
                  </a:cubicBezTo>
                  <a:close/>
                </a:path>
              </a:pathLst>
            </a:custGeom>
            <a:solidFill>
              <a:srgbClr val="002060"/>
            </a:solidFill>
            <a:ln w="317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1D2D5F8D-217B-20D9-621B-5A0B90708B3C}"/>
                </a:ext>
              </a:extLst>
            </p:cNvPr>
            <p:cNvGrpSpPr/>
            <p:nvPr/>
          </p:nvGrpSpPr>
          <p:grpSpPr>
            <a:xfrm>
              <a:off x="7601022" y="1242167"/>
              <a:ext cx="744719" cy="559341"/>
              <a:chOff x="-5763224" y="651009"/>
              <a:chExt cx="3745089" cy="2812843"/>
            </a:xfrm>
            <a:solidFill>
              <a:srgbClr val="04143F"/>
            </a:solidFill>
          </p:grpSpPr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E13B151F-1578-1943-46D0-6F8BC16EEEE0}"/>
                  </a:ext>
                </a:extLst>
              </p:cNvPr>
              <p:cNvSpPr/>
              <p:nvPr/>
            </p:nvSpPr>
            <p:spPr>
              <a:xfrm>
                <a:off x="-4268405" y="651034"/>
                <a:ext cx="1165326" cy="1173364"/>
              </a:xfrm>
              <a:custGeom>
                <a:avLst/>
                <a:gdLst>
                  <a:gd name="connsiteX0" fmla="*/ 586682 w 1165326"/>
                  <a:gd name="connsiteY0" fmla="*/ 1173365 h 1173364"/>
                  <a:gd name="connsiteX1" fmla="*/ 0 w 1165326"/>
                  <a:gd name="connsiteY1" fmla="*/ 586682 h 1173364"/>
                  <a:gd name="connsiteX2" fmla="*/ 170808 w 1165326"/>
                  <a:gd name="connsiteY2" fmla="*/ 170808 h 1173364"/>
                  <a:gd name="connsiteX3" fmla="*/ 586682 w 1165326"/>
                  <a:gd name="connsiteY3" fmla="*/ 0 h 1173364"/>
                  <a:gd name="connsiteX4" fmla="*/ 1165326 w 1165326"/>
                  <a:gd name="connsiteY4" fmla="*/ 586682 h 1173364"/>
                  <a:gd name="connsiteX5" fmla="*/ 995693 w 1165326"/>
                  <a:gd name="connsiteY5" fmla="*/ 999367 h 1173364"/>
                  <a:gd name="connsiteX6" fmla="*/ 586682 w 1165326"/>
                  <a:gd name="connsiteY6" fmla="*/ 1173365 h 1173364"/>
                  <a:gd name="connsiteX7" fmla="*/ 586682 w 1165326"/>
                  <a:gd name="connsiteY7" fmla="*/ 48261 h 1173364"/>
                  <a:gd name="connsiteX8" fmla="*/ 48224 w 1165326"/>
                  <a:gd name="connsiteY8" fmla="*/ 586719 h 1173364"/>
                  <a:gd name="connsiteX9" fmla="*/ 586682 w 1165326"/>
                  <a:gd name="connsiteY9" fmla="*/ 1125177 h 1173364"/>
                  <a:gd name="connsiteX10" fmla="*/ 1117110 w 1165326"/>
                  <a:gd name="connsiteY10" fmla="*/ 586719 h 1173364"/>
                  <a:gd name="connsiteX11" fmla="*/ 586682 w 1165326"/>
                  <a:gd name="connsiteY11" fmla="*/ 48261 h 1173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65326" h="1173364">
                    <a:moveTo>
                      <a:pt x="586682" y="1173365"/>
                    </a:moveTo>
                    <a:cubicBezTo>
                      <a:pt x="263178" y="1173365"/>
                      <a:pt x="0" y="910194"/>
                      <a:pt x="0" y="586682"/>
                    </a:cubicBezTo>
                    <a:cubicBezTo>
                      <a:pt x="0" y="428645"/>
                      <a:pt x="60649" y="280975"/>
                      <a:pt x="170808" y="170808"/>
                    </a:cubicBezTo>
                    <a:cubicBezTo>
                      <a:pt x="280967" y="60649"/>
                      <a:pt x="428645" y="0"/>
                      <a:pt x="586682" y="0"/>
                    </a:cubicBezTo>
                    <a:cubicBezTo>
                      <a:pt x="905741" y="0"/>
                      <a:pt x="1165326" y="263171"/>
                      <a:pt x="1165326" y="586682"/>
                    </a:cubicBezTo>
                    <a:cubicBezTo>
                      <a:pt x="1165326" y="741215"/>
                      <a:pt x="1105080" y="887776"/>
                      <a:pt x="995693" y="999367"/>
                    </a:cubicBezTo>
                    <a:cubicBezTo>
                      <a:pt x="885674" y="1111569"/>
                      <a:pt x="740444" y="1173365"/>
                      <a:pt x="586682" y="1173365"/>
                    </a:cubicBezTo>
                    <a:close/>
                    <a:moveTo>
                      <a:pt x="586682" y="48261"/>
                    </a:moveTo>
                    <a:cubicBezTo>
                      <a:pt x="284729" y="48261"/>
                      <a:pt x="48224" y="284774"/>
                      <a:pt x="48224" y="586719"/>
                    </a:cubicBezTo>
                    <a:cubicBezTo>
                      <a:pt x="48224" y="883617"/>
                      <a:pt x="289785" y="1125177"/>
                      <a:pt x="586682" y="1125177"/>
                    </a:cubicBezTo>
                    <a:cubicBezTo>
                      <a:pt x="874197" y="1125177"/>
                      <a:pt x="1117110" y="878591"/>
                      <a:pt x="1117110" y="586719"/>
                    </a:cubicBezTo>
                    <a:cubicBezTo>
                      <a:pt x="1117110" y="289792"/>
                      <a:pt x="879164" y="48261"/>
                      <a:pt x="586682" y="48261"/>
                    </a:cubicBezTo>
                    <a:close/>
                  </a:path>
                </a:pathLst>
              </a:custGeom>
              <a:grpFill/>
              <a:ln w="7348" cap="flat">
                <a:solidFill>
                  <a:srgbClr val="0414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3221F1B1-195C-F6B7-219F-A987013E2754}"/>
                  </a:ext>
                </a:extLst>
              </p:cNvPr>
              <p:cNvSpPr/>
              <p:nvPr/>
            </p:nvSpPr>
            <p:spPr>
              <a:xfrm>
                <a:off x="-3585313" y="707320"/>
                <a:ext cx="466292" cy="409851"/>
              </a:xfrm>
              <a:custGeom>
                <a:avLst/>
                <a:gdLst>
                  <a:gd name="connsiteX0" fmla="*/ 442188 w 466292"/>
                  <a:gd name="connsiteY0" fmla="*/ 409847 h 409851"/>
                  <a:gd name="connsiteX1" fmla="*/ 442015 w 466292"/>
                  <a:gd name="connsiteY1" fmla="*/ 409847 h 409851"/>
                  <a:gd name="connsiteX2" fmla="*/ 425942 w 466292"/>
                  <a:gd name="connsiteY2" fmla="*/ 409847 h 409851"/>
                  <a:gd name="connsiteX3" fmla="*/ 6394 w 466292"/>
                  <a:gd name="connsiteY3" fmla="*/ 233330 h 409851"/>
                  <a:gd name="connsiteX4" fmla="*/ 5820 w 466292"/>
                  <a:gd name="connsiteY4" fmla="*/ 201298 h 409851"/>
                  <a:gd name="connsiteX5" fmla="*/ 113767 w 466292"/>
                  <a:gd name="connsiteY5" fmla="*/ 16484 h 409851"/>
                  <a:gd name="connsiteX6" fmla="*/ 126683 w 466292"/>
                  <a:gd name="connsiteY6" fmla="*/ 2133 h 409851"/>
                  <a:gd name="connsiteX7" fmla="*/ 145972 w 466292"/>
                  <a:gd name="connsiteY7" fmla="*/ 1875 h 409851"/>
                  <a:gd name="connsiteX8" fmla="*/ 464714 w 466292"/>
                  <a:gd name="connsiteY8" fmla="*/ 377159 h 409851"/>
                  <a:gd name="connsiteX9" fmla="*/ 466293 w 466292"/>
                  <a:gd name="connsiteY9" fmla="*/ 385742 h 409851"/>
                  <a:gd name="connsiteX10" fmla="*/ 442183 w 466292"/>
                  <a:gd name="connsiteY10" fmla="*/ 409851 h 409851"/>
                  <a:gd name="connsiteX11" fmla="*/ 56484 w 466292"/>
                  <a:gd name="connsiteY11" fmla="*/ 215761 h 409851"/>
                  <a:gd name="connsiteX12" fmla="*/ 410129 w 466292"/>
                  <a:gd name="connsiteY12" fmla="*/ 361396 h 409851"/>
                  <a:gd name="connsiteX13" fmla="*/ 150426 w 466292"/>
                  <a:gd name="connsiteY13" fmla="*/ 56776 h 409851"/>
                  <a:gd name="connsiteX14" fmla="*/ 56484 w 466292"/>
                  <a:gd name="connsiteY14" fmla="*/ 215761 h 409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66292" h="409851">
                    <a:moveTo>
                      <a:pt x="442188" y="409847"/>
                    </a:moveTo>
                    <a:lnTo>
                      <a:pt x="442015" y="409847"/>
                    </a:lnTo>
                    <a:lnTo>
                      <a:pt x="425942" y="409847"/>
                    </a:lnTo>
                    <a:cubicBezTo>
                      <a:pt x="262886" y="409847"/>
                      <a:pt x="109955" y="345496"/>
                      <a:pt x="6394" y="233330"/>
                    </a:cubicBezTo>
                    <a:cubicBezTo>
                      <a:pt x="-1901" y="224346"/>
                      <a:pt x="-2160" y="210568"/>
                      <a:pt x="5820" y="201298"/>
                    </a:cubicBezTo>
                    <a:cubicBezTo>
                      <a:pt x="56136" y="142601"/>
                      <a:pt x="92444" y="80403"/>
                      <a:pt x="113767" y="16484"/>
                    </a:cubicBezTo>
                    <a:cubicBezTo>
                      <a:pt x="115891" y="10112"/>
                      <a:pt x="120570" y="4917"/>
                      <a:pt x="126683" y="2133"/>
                    </a:cubicBezTo>
                    <a:cubicBezTo>
                      <a:pt x="132797" y="-622"/>
                      <a:pt x="139801" y="-708"/>
                      <a:pt x="145972" y="1875"/>
                    </a:cubicBezTo>
                    <a:cubicBezTo>
                      <a:pt x="302547" y="67805"/>
                      <a:pt x="421516" y="207990"/>
                      <a:pt x="464714" y="377159"/>
                    </a:cubicBezTo>
                    <a:cubicBezTo>
                      <a:pt x="465748" y="379829"/>
                      <a:pt x="466293" y="382699"/>
                      <a:pt x="466293" y="385742"/>
                    </a:cubicBezTo>
                    <a:cubicBezTo>
                      <a:pt x="466293" y="399060"/>
                      <a:pt x="455530" y="409851"/>
                      <a:pt x="442183" y="409851"/>
                    </a:cubicBezTo>
                    <a:close/>
                    <a:moveTo>
                      <a:pt x="56484" y="215761"/>
                    </a:moveTo>
                    <a:cubicBezTo>
                      <a:pt x="146951" y="305258"/>
                      <a:pt x="273995" y="357641"/>
                      <a:pt x="410129" y="361396"/>
                    </a:cubicBezTo>
                    <a:cubicBezTo>
                      <a:pt x="367936" y="227496"/>
                      <a:pt x="273334" y="116448"/>
                      <a:pt x="150426" y="56776"/>
                    </a:cubicBezTo>
                    <a:cubicBezTo>
                      <a:pt x="128957" y="111626"/>
                      <a:pt x="97442" y="164958"/>
                      <a:pt x="56484" y="215761"/>
                    </a:cubicBezTo>
                    <a:close/>
                  </a:path>
                </a:pathLst>
              </a:custGeom>
              <a:grpFill/>
              <a:ln w="7348" cap="flat">
                <a:solidFill>
                  <a:srgbClr val="0414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5BEFEE8F-C778-806F-35F5-32639864C6BA}"/>
                  </a:ext>
                </a:extLst>
              </p:cNvPr>
              <p:cNvSpPr/>
              <p:nvPr/>
            </p:nvSpPr>
            <p:spPr>
              <a:xfrm>
                <a:off x="-4236236" y="651009"/>
                <a:ext cx="811721" cy="474168"/>
              </a:xfrm>
              <a:custGeom>
                <a:avLst/>
                <a:gdLst>
                  <a:gd name="connsiteX0" fmla="*/ 265228 w 811721"/>
                  <a:gd name="connsiteY0" fmla="*/ 474168 h 474168"/>
                  <a:gd name="connsiteX1" fmla="*/ 14335 w 811721"/>
                  <a:gd name="connsiteY1" fmla="*/ 423852 h 474168"/>
                  <a:gd name="connsiteX2" fmla="*/ 1505 w 811721"/>
                  <a:gd name="connsiteY2" fmla="*/ 393456 h 474168"/>
                  <a:gd name="connsiteX3" fmla="*/ 554549 w 811721"/>
                  <a:gd name="connsiteY3" fmla="*/ 0 h 474168"/>
                  <a:gd name="connsiteX4" fmla="*/ 797403 w 811721"/>
                  <a:gd name="connsiteY4" fmla="*/ 58352 h 474168"/>
                  <a:gd name="connsiteX5" fmla="*/ 810491 w 811721"/>
                  <a:gd name="connsiteY5" fmla="*/ 88002 h 474168"/>
                  <a:gd name="connsiteX6" fmla="*/ 265228 w 811721"/>
                  <a:gd name="connsiteY6" fmla="*/ 474169 h 474168"/>
                  <a:gd name="connsiteX7" fmla="*/ 55182 w 811721"/>
                  <a:gd name="connsiteY7" fmla="*/ 388660 h 474168"/>
                  <a:gd name="connsiteX8" fmla="*/ 265228 w 811721"/>
                  <a:gd name="connsiteY8" fmla="*/ 425945 h 474168"/>
                  <a:gd name="connsiteX9" fmla="*/ 757277 w 811721"/>
                  <a:gd name="connsiteY9" fmla="*/ 93601 h 474168"/>
                  <a:gd name="connsiteX10" fmla="*/ 554550 w 811721"/>
                  <a:gd name="connsiteY10" fmla="*/ 48223 h 474168"/>
                  <a:gd name="connsiteX11" fmla="*/ 55182 w 811721"/>
                  <a:gd name="connsiteY11" fmla="*/ 388663 h 474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11721" h="474168">
                    <a:moveTo>
                      <a:pt x="265228" y="474168"/>
                    </a:moveTo>
                    <a:cubicBezTo>
                      <a:pt x="173835" y="474168"/>
                      <a:pt x="89423" y="457262"/>
                      <a:pt x="14335" y="423852"/>
                    </a:cubicBezTo>
                    <a:cubicBezTo>
                      <a:pt x="2711" y="418685"/>
                      <a:pt x="-2916" y="405367"/>
                      <a:pt x="1505" y="393456"/>
                    </a:cubicBezTo>
                    <a:cubicBezTo>
                      <a:pt x="90025" y="154452"/>
                      <a:pt x="307102" y="0"/>
                      <a:pt x="554549" y="0"/>
                    </a:cubicBezTo>
                    <a:cubicBezTo>
                      <a:pt x="628601" y="0"/>
                      <a:pt x="710316" y="19633"/>
                      <a:pt x="797403" y="58352"/>
                    </a:cubicBezTo>
                    <a:cubicBezTo>
                      <a:pt x="808741" y="63404"/>
                      <a:pt x="814395" y="76234"/>
                      <a:pt x="810491" y="88002"/>
                    </a:cubicBezTo>
                    <a:cubicBezTo>
                      <a:pt x="733485" y="318975"/>
                      <a:pt x="514365" y="474169"/>
                      <a:pt x="265228" y="474169"/>
                    </a:cubicBezTo>
                    <a:close/>
                    <a:moveTo>
                      <a:pt x="55182" y="388660"/>
                    </a:moveTo>
                    <a:cubicBezTo>
                      <a:pt x="118672" y="413402"/>
                      <a:pt x="189221" y="425945"/>
                      <a:pt x="265228" y="425945"/>
                    </a:cubicBezTo>
                    <a:cubicBezTo>
                      <a:pt x="485979" y="425945"/>
                      <a:pt x="680925" y="293309"/>
                      <a:pt x="757277" y="93601"/>
                    </a:cubicBezTo>
                    <a:cubicBezTo>
                      <a:pt x="684200" y="63463"/>
                      <a:pt x="616088" y="48223"/>
                      <a:pt x="554550" y="48223"/>
                    </a:cubicBezTo>
                    <a:cubicBezTo>
                      <a:pt x="335003" y="48223"/>
                      <a:pt x="141380" y="181057"/>
                      <a:pt x="55182" y="388663"/>
                    </a:cubicBezTo>
                    <a:close/>
                  </a:path>
                </a:pathLst>
              </a:custGeom>
              <a:grpFill/>
              <a:ln w="7348" cap="flat">
                <a:solidFill>
                  <a:srgbClr val="0414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615839FA-43C7-9693-F8EF-9C84C285C0E4}"/>
                  </a:ext>
                </a:extLst>
              </p:cNvPr>
              <p:cNvSpPr/>
              <p:nvPr/>
            </p:nvSpPr>
            <p:spPr>
              <a:xfrm>
                <a:off x="-4847029" y="1960925"/>
                <a:ext cx="2306452" cy="1181486"/>
              </a:xfrm>
              <a:custGeom>
                <a:avLst/>
                <a:gdLst>
                  <a:gd name="connsiteX0" fmla="*/ 2282400 w 2306452"/>
                  <a:gd name="connsiteY0" fmla="*/ 1181459 h 1181486"/>
                  <a:gd name="connsiteX1" fmla="*/ 24110 w 2306452"/>
                  <a:gd name="connsiteY1" fmla="*/ 1181459 h 1181486"/>
                  <a:gd name="connsiteX2" fmla="*/ 0 w 2306452"/>
                  <a:gd name="connsiteY2" fmla="*/ 1157349 h 1181486"/>
                  <a:gd name="connsiteX3" fmla="*/ 0 w 2306452"/>
                  <a:gd name="connsiteY3" fmla="*/ 578705 h 1181486"/>
                  <a:gd name="connsiteX4" fmla="*/ 13318 w 2306452"/>
                  <a:gd name="connsiteY4" fmla="*/ 557121 h 1181486"/>
                  <a:gd name="connsiteX5" fmla="*/ 306512 w 2306452"/>
                  <a:gd name="connsiteY5" fmla="*/ 209766 h 1181486"/>
                  <a:gd name="connsiteX6" fmla="*/ 320404 w 2306452"/>
                  <a:gd name="connsiteY6" fmla="*/ 194697 h 1181486"/>
                  <a:gd name="connsiteX7" fmla="*/ 794569 w 2306452"/>
                  <a:gd name="connsiteY7" fmla="*/ 1815 h 1181486"/>
                  <a:gd name="connsiteX8" fmla="*/ 820487 w 2306452"/>
                  <a:gd name="connsiteY8" fmla="*/ 6896 h 1181486"/>
                  <a:gd name="connsiteX9" fmla="*/ 1141757 w 2306452"/>
                  <a:gd name="connsiteY9" fmla="*/ 320502 h 1181486"/>
                  <a:gd name="connsiteX10" fmla="*/ 1486592 w 2306452"/>
                  <a:gd name="connsiteY10" fmla="*/ 6293 h 1181486"/>
                  <a:gd name="connsiteX11" fmla="*/ 1511620 w 2306452"/>
                  <a:gd name="connsiteY11" fmla="*/ 1672 h 1181486"/>
                  <a:gd name="connsiteX12" fmla="*/ 2291155 w 2306452"/>
                  <a:gd name="connsiteY12" fmla="*/ 307064 h 1181486"/>
                  <a:gd name="connsiteX13" fmla="*/ 2306453 w 2306452"/>
                  <a:gd name="connsiteY13" fmla="*/ 329509 h 1181486"/>
                  <a:gd name="connsiteX14" fmla="*/ 2306453 w 2306452"/>
                  <a:gd name="connsiteY14" fmla="*/ 1157319 h 1181486"/>
                  <a:gd name="connsiteX15" fmla="*/ 2282400 w 2306452"/>
                  <a:gd name="connsiteY15" fmla="*/ 1181487 h 1181486"/>
                  <a:gd name="connsiteX16" fmla="*/ 48211 w 2306452"/>
                  <a:gd name="connsiteY16" fmla="*/ 1133238 h 1181486"/>
                  <a:gd name="connsiteX17" fmla="*/ 2258299 w 2306452"/>
                  <a:gd name="connsiteY17" fmla="*/ 1133238 h 1181486"/>
                  <a:gd name="connsiteX18" fmla="*/ 2258299 w 2306452"/>
                  <a:gd name="connsiteY18" fmla="*/ 345989 h 1181486"/>
                  <a:gd name="connsiteX19" fmla="*/ 1508010 w 2306452"/>
                  <a:gd name="connsiteY19" fmla="*/ 52075 h 1181486"/>
                  <a:gd name="connsiteX20" fmla="*/ 1157436 w 2306452"/>
                  <a:gd name="connsiteY20" fmla="*/ 371479 h 1181486"/>
                  <a:gd name="connsiteX21" fmla="*/ 1124371 w 2306452"/>
                  <a:gd name="connsiteY21" fmla="*/ 370905 h 1181486"/>
                  <a:gd name="connsiteX22" fmla="*/ 798140 w 2306452"/>
                  <a:gd name="connsiteY22" fmla="*/ 52419 h 1181486"/>
                  <a:gd name="connsiteX23" fmla="*/ 348973 w 2306452"/>
                  <a:gd name="connsiteY23" fmla="*/ 235138 h 1181486"/>
                  <a:gd name="connsiteX24" fmla="*/ 48225 w 2306452"/>
                  <a:gd name="connsiteY24" fmla="*/ 593346 h 1181486"/>
                  <a:gd name="connsiteX25" fmla="*/ 48225 w 2306452"/>
                  <a:gd name="connsiteY25" fmla="*/ 1133215 h 11814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306452" h="1181486">
                    <a:moveTo>
                      <a:pt x="2282400" y="1181459"/>
                    </a:moveTo>
                    <a:lnTo>
                      <a:pt x="24110" y="1181459"/>
                    </a:lnTo>
                    <a:cubicBezTo>
                      <a:pt x="10792" y="1181459"/>
                      <a:pt x="0" y="1170666"/>
                      <a:pt x="0" y="1157349"/>
                    </a:cubicBezTo>
                    <a:lnTo>
                      <a:pt x="0" y="578705"/>
                    </a:lnTo>
                    <a:cubicBezTo>
                      <a:pt x="0" y="569578"/>
                      <a:pt x="5166" y="561225"/>
                      <a:pt x="13318" y="557121"/>
                    </a:cubicBezTo>
                    <a:cubicBezTo>
                      <a:pt x="149768" y="488895"/>
                      <a:pt x="259354" y="359045"/>
                      <a:pt x="306512" y="209766"/>
                    </a:cubicBezTo>
                    <a:cubicBezTo>
                      <a:pt x="308665" y="202906"/>
                      <a:pt x="313774" y="197395"/>
                      <a:pt x="320404" y="194697"/>
                    </a:cubicBezTo>
                    <a:lnTo>
                      <a:pt x="794569" y="1815"/>
                    </a:lnTo>
                    <a:cubicBezTo>
                      <a:pt x="803438" y="-1801"/>
                      <a:pt x="813627" y="179"/>
                      <a:pt x="820487" y="6896"/>
                    </a:cubicBezTo>
                    <a:lnTo>
                      <a:pt x="1141757" y="320502"/>
                    </a:lnTo>
                    <a:lnTo>
                      <a:pt x="1486592" y="6293"/>
                    </a:lnTo>
                    <a:cubicBezTo>
                      <a:pt x="1493395" y="93"/>
                      <a:pt x="1503067" y="-1686"/>
                      <a:pt x="1511620" y="1672"/>
                    </a:cubicBezTo>
                    <a:lnTo>
                      <a:pt x="2291155" y="307064"/>
                    </a:lnTo>
                    <a:cubicBezTo>
                      <a:pt x="2300397" y="310680"/>
                      <a:pt x="2306453" y="319607"/>
                      <a:pt x="2306453" y="329509"/>
                    </a:cubicBezTo>
                    <a:lnTo>
                      <a:pt x="2306453" y="1157319"/>
                    </a:lnTo>
                    <a:cubicBezTo>
                      <a:pt x="2306510" y="1170694"/>
                      <a:pt x="2295718" y="1181487"/>
                      <a:pt x="2282400" y="1181487"/>
                    </a:cubicBezTo>
                    <a:close/>
                    <a:moveTo>
                      <a:pt x="48211" y="1133238"/>
                    </a:moveTo>
                    <a:lnTo>
                      <a:pt x="2258299" y="1133238"/>
                    </a:lnTo>
                    <a:lnTo>
                      <a:pt x="2258299" y="345989"/>
                    </a:lnTo>
                    <a:lnTo>
                      <a:pt x="1508010" y="52075"/>
                    </a:lnTo>
                    <a:lnTo>
                      <a:pt x="1157436" y="371479"/>
                    </a:lnTo>
                    <a:cubicBezTo>
                      <a:pt x="1147992" y="380061"/>
                      <a:pt x="1133498" y="379831"/>
                      <a:pt x="1124371" y="370905"/>
                    </a:cubicBezTo>
                    <a:lnTo>
                      <a:pt x="798140" y="52419"/>
                    </a:lnTo>
                    <a:lnTo>
                      <a:pt x="348973" y="235138"/>
                    </a:lnTo>
                    <a:cubicBezTo>
                      <a:pt x="297797" y="387202"/>
                      <a:pt x="186630" y="519552"/>
                      <a:pt x="48225" y="593346"/>
                    </a:cubicBezTo>
                    <a:lnTo>
                      <a:pt x="48225" y="1133215"/>
                    </a:lnTo>
                    <a:close/>
                  </a:path>
                </a:pathLst>
              </a:custGeom>
              <a:grpFill/>
              <a:ln w="7348" cap="flat">
                <a:solidFill>
                  <a:srgbClr val="0414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7592FFEA-6D14-9EE5-85BF-E73F57458950}"/>
                  </a:ext>
                </a:extLst>
              </p:cNvPr>
              <p:cNvSpPr/>
              <p:nvPr/>
            </p:nvSpPr>
            <p:spPr>
              <a:xfrm>
                <a:off x="-4461266" y="2571776"/>
                <a:ext cx="1535002" cy="570608"/>
              </a:xfrm>
              <a:custGeom>
                <a:avLst/>
                <a:gdLst>
                  <a:gd name="connsiteX0" fmla="*/ 1510875 w 1535002"/>
                  <a:gd name="connsiteY0" fmla="*/ 570608 h 570608"/>
                  <a:gd name="connsiteX1" fmla="*/ 24110 w 1535002"/>
                  <a:gd name="connsiteY1" fmla="*/ 570608 h 570608"/>
                  <a:gd name="connsiteX2" fmla="*/ 0 w 1535002"/>
                  <a:gd name="connsiteY2" fmla="*/ 546498 h 570608"/>
                  <a:gd name="connsiteX3" fmla="*/ 0 w 1535002"/>
                  <a:gd name="connsiteY3" fmla="*/ 24110 h 570608"/>
                  <a:gd name="connsiteX4" fmla="*/ 24110 w 1535002"/>
                  <a:gd name="connsiteY4" fmla="*/ 0 h 570608"/>
                  <a:gd name="connsiteX5" fmla="*/ 48220 w 1535002"/>
                  <a:gd name="connsiteY5" fmla="*/ 24110 h 570608"/>
                  <a:gd name="connsiteX6" fmla="*/ 48220 w 1535002"/>
                  <a:gd name="connsiteY6" fmla="*/ 522383 h 570608"/>
                  <a:gd name="connsiteX7" fmla="*/ 1486783 w 1535002"/>
                  <a:gd name="connsiteY7" fmla="*/ 522383 h 570608"/>
                  <a:gd name="connsiteX8" fmla="*/ 1486783 w 1535002"/>
                  <a:gd name="connsiteY8" fmla="*/ 24110 h 570608"/>
                  <a:gd name="connsiteX9" fmla="*/ 1510893 w 1535002"/>
                  <a:gd name="connsiteY9" fmla="*/ 0 h 570608"/>
                  <a:gd name="connsiteX10" fmla="*/ 1535003 w 1535002"/>
                  <a:gd name="connsiteY10" fmla="*/ 24110 h 570608"/>
                  <a:gd name="connsiteX11" fmla="*/ 1535003 w 1535002"/>
                  <a:gd name="connsiteY11" fmla="*/ 546498 h 570608"/>
                  <a:gd name="connsiteX12" fmla="*/ 1510893 w 1535002"/>
                  <a:gd name="connsiteY12" fmla="*/ 570608 h 570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35002" h="570608">
                    <a:moveTo>
                      <a:pt x="1510875" y="570608"/>
                    </a:moveTo>
                    <a:lnTo>
                      <a:pt x="24110" y="570608"/>
                    </a:lnTo>
                    <a:cubicBezTo>
                      <a:pt x="10792" y="570608"/>
                      <a:pt x="0" y="559816"/>
                      <a:pt x="0" y="546498"/>
                    </a:cubicBezTo>
                    <a:lnTo>
                      <a:pt x="0" y="24110"/>
                    </a:lnTo>
                    <a:cubicBezTo>
                      <a:pt x="0" y="10792"/>
                      <a:pt x="10793" y="0"/>
                      <a:pt x="24110" y="0"/>
                    </a:cubicBezTo>
                    <a:cubicBezTo>
                      <a:pt x="37427" y="0"/>
                      <a:pt x="48220" y="10793"/>
                      <a:pt x="48220" y="24110"/>
                    </a:cubicBezTo>
                    <a:lnTo>
                      <a:pt x="48220" y="522383"/>
                    </a:lnTo>
                    <a:lnTo>
                      <a:pt x="1486783" y="522383"/>
                    </a:lnTo>
                    <a:lnTo>
                      <a:pt x="1486783" y="24110"/>
                    </a:lnTo>
                    <a:cubicBezTo>
                      <a:pt x="1486783" y="10792"/>
                      <a:pt x="1497576" y="0"/>
                      <a:pt x="1510893" y="0"/>
                    </a:cubicBezTo>
                    <a:cubicBezTo>
                      <a:pt x="1524210" y="0"/>
                      <a:pt x="1535003" y="10793"/>
                      <a:pt x="1535003" y="24110"/>
                    </a:cubicBezTo>
                    <a:lnTo>
                      <a:pt x="1535003" y="546498"/>
                    </a:lnTo>
                    <a:cubicBezTo>
                      <a:pt x="1535003" y="559816"/>
                      <a:pt x="1524210" y="570608"/>
                      <a:pt x="1510893" y="570608"/>
                    </a:cubicBezTo>
                    <a:close/>
                  </a:path>
                </a:pathLst>
              </a:custGeom>
              <a:grpFill/>
              <a:ln w="7348" cap="flat">
                <a:solidFill>
                  <a:srgbClr val="0414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34B9D750-FE1B-57A9-C69E-B507A04BA762}"/>
                  </a:ext>
                </a:extLst>
              </p:cNvPr>
              <p:cNvSpPr/>
              <p:nvPr/>
            </p:nvSpPr>
            <p:spPr>
              <a:xfrm>
                <a:off x="-4091611" y="1961002"/>
                <a:ext cx="795608" cy="450049"/>
              </a:xfrm>
              <a:custGeom>
                <a:avLst/>
                <a:gdLst>
                  <a:gd name="connsiteX0" fmla="*/ 771549 w 795608"/>
                  <a:gd name="connsiteY0" fmla="*/ 450050 h 450049"/>
                  <a:gd name="connsiteX1" fmla="*/ 24125 w 795608"/>
                  <a:gd name="connsiteY1" fmla="*/ 450050 h 450049"/>
                  <a:gd name="connsiteX2" fmla="*/ 6560 w 795608"/>
                  <a:gd name="connsiteY2" fmla="*/ 442472 h 450049"/>
                  <a:gd name="connsiteX3" fmla="*/ 44 w 795608"/>
                  <a:gd name="connsiteY3" fmla="*/ 424505 h 450049"/>
                  <a:gd name="connsiteX4" fmla="*/ 24154 w 795608"/>
                  <a:gd name="connsiteY4" fmla="*/ 22665 h 450049"/>
                  <a:gd name="connsiteX5" fmla="*/ 49671 w 795608"/>
                  <a:gd name="connsiteY5" fmla="*/ 48 h 450049"/>
                  <a:gd name="connsiteX6" fmla="*/ 72288 w 795608"/>
                  <a:gd name="connsiteY6" fmla="*/ 25565 h 450049"/>
                  <a:gd name="connsiteX7" fmla="*/ 49700 w 795608"/>
                  <a:gd name="connsiteY7" fmla="*/ 401856 h 450049"/>
                  <a:gd name="connsiteX8" fmla="*/ 745909 w 795608"/>
                  <a:gd name="connsiteY8" fmla="*/ 401856 h 450049"/>
                  <a:gd name="connsiteX9" fmla="*/ 723320 w 795608"/>
                  <a:gd name="connsiteY9" fmla="*/ 25565 h 450049"/>
                  <a:gd name="connsiteX10" fmla="*/ 745938 w 795608"/>
                  <a:gd name="connsiteY10" fmla="*/ 48 h 450049"/>
                  <a:gd name="connsiteX11" fmla="*/ 771455 w 795608"/>
                  <a:gd name="connsiteY11" fmla="*/ 22665 h 450049"/>
                  <a:gd name="connsiteX12" fmla="*/ 795564 w 795608"/>
                  <a:gd name="connsiteY12" fmla="*/ 424505 h 450049"/>
                  <a:gd name="connsiteX13" fmla="*/ 789049 w 795608"/>
                  <a:gd name="connsiteY13" fmla="*/ 442472 h 450049"/>
                  <a:gd name="connsiteX14" fmla="*/ 771540 w 795608"/>
                  <a:gd name="connsiteY14" fmla="*/ 450050 h 450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95608" h="450049">
                    <a:moveTo>
                      <a:pt x="771549" y="450050"/>
                    </a:moveTo>
                    <a:lnTo>
                      <a:pt x="24125" y="450050"/>
                    </a:lnTo>
                    <a:cubicBezTo>
                      <a:pt x="17466" y="450050"/>
                      <a:pt x="11123" y="447323"/>
                      <a:pt x="6560" y="442472"/>
                    </a:cubicBezTo>
                    <a:cubicBezTo>
                      <a:pt x="1996" y="437622"/>
                      <a:pt x="-358" y="431135"/>
                      <a:pt x="44" y="424505"/>
                    </a:cubicBezTo>
                    <a:lnTo>
                      <a:pt x="24154" y="22665"/>
                    </a:lnTo>
                    <a:cubicBezTo>
                      <a:pt x="24958" y="9376"/>
                      <a:pt x="36467" y="-670"/>
                      <a:pt x="49671" y="48"/>
                    </a:cubicBezTo>
                    <a:cubicBezTo>
                      <a:pt x="62960" y="851"/>
                      <a:pt x="73092" y="12275"/>
                      <a:pt x="72288" y="25565"/>
                    </a:cubicBezTo>
                    <a:lnTo>
                      <a:pt x="49700" y="401856"/>
                    </a:lnTo>
                    <a:lnTo>
                      <a:pt x="745909" y="401856"/>
                    </a:lnTo>
                    <a:lnTo>
                      <a:pt x="723320" y="25565"/>
                    </a:lnTo>
                    <a:cubicBezTo>
                      <a:pt x="722517" y="12275"/>
                      <a:pt x="732648" y="852"/>
                      <a:pt x="745938" y="48"/>
                    </a:cubicBezTo>
                    <a:cubicBezTo>
                      <a:pt x="759227" y="-785"/>
                      <a:pt x="770651" y="9376"/>
                      <a:pt x="771455" y="22665"/>
                    </a:cubicBezTo>
                    <a:lnTo>
                      <a:pt x="795564" y="424505"/>
                    </a:lnTo>
                    <a:cubicBezTo>
                      <a:pt x="795966" y="431135"/>
                      <a:pt x="793613" y="437651"/>
                      <a:pt x="789049" y="442472"/>
                    </a:cubicBezTo>
                    <a:cubicBezTo>
                      <a:pt x="784543" y="447294"/>
                      <a:pt x="778199" y="450050"/>
                      <a:pt x="771540" y="450050"/>
                    </a:cubicBezTo>
                    <a:close/>
                  </a:path>
                </a:pathLst>
              </a:custGeom>
              <a:grpFill/>
              <a:ln w="7348" cap="flat">
                <a:solidFill>
                  <a:srgbClr val="0414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5E04E1B7-202A-CCBA-20A8-56E6D976D90B}"/>
                  </a:ext>
                </a:extLst>
              </p:cNvPr>
              <p:cNvSpPr/>
              <p:nvPr/>
            </p:nvSpPr>
            <p:spPr>
              <a:xfrm>
                <a:off x="-3826374" y="2362832"/>
                <a:ext cx="273247" cy="305394"/>
              </a:xfrm>
              <a:custGeom>
                <a:avLst/>
                <a:gdLst>
                  <a:gd name="connsiteX0" fmla="*/ 249138 w 273247"/>
                  <a:gd name="connsiteY0" fmla="*/ 305395 h 305394"/>
                  <a:gd name="connsiteX1" fmla="*/ 24110 w 273247"/>
                  <a:gd name="connsiteY1" fmla="*/ 305395 h 305394"/>
                  <a:gd name="connsiteX2" fmla="*/ 0 w 273247"/>
                  <a:gd name="connsiteY2" fmla="*/ 281285 h 305394"/>
                  <a:gd name="connsiteX3" fmla="*/ 0 w 273247"/>
                  <a:gd name="connsiteY3" fmla="*/ 24110 h 305394"/>
                  <a:gd name="connsiteX4" fmla="*/ 24110 w 273247"/>
                  <a:gd name="connsiteY4" fmla="*/ 0 h 305394"/>
                  <a:gd name="connsiteX5" fmla="*/ 249138 w 273247"/>
                  <a:gd name="connsiteY5" fmla="*/ 0 h 305394"/>
                  <a:gd name="connsiteX6" fmla="*/ 273248 w 273247"/>
                  <a:gd name="connsiteY6" fmla="*/ 24110 h 305394"/>
                  <a:gd name="connsiteX7" fmla="*/ 273248 w 273247"/>
                  <a:gd name="connsiteY7" fmla="*/ 281285 h 305394"/>
                  <a:gd name="connsiteX8" fmla="*/ 249138 w 273247"/>
                  <a:gd name="connsiteY8" fmla="*/ 305395 h 305394"/>
                  <a:gd name="connsiteX9" fmla="*/ 48218 w 273247"/>
                  <a:gd name="connsiteY9" fmla="*/ 257174 h 305394"/>
                  <a:gd name="connsiteX10" fmla="*/ 225022 w 273247"/>
                  <a:gd name="connsiteY10" fmla="*/ 257174 h 305394"/>
                  <a:gd name="connsiteX11" fmla="*/ 225022 w 273247"/>
                  <a:gd name="connsiteY11" fmla="*/ 48216 h 305394"/>
                  <a:gd name="connsiteX12" fmla="*/ 48218 w 273247"/>
                  <a:gd name="connsiteY12" fmla="*/ 48216 h 3053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73247" h="305394">
                    <a:moveTo>
                      <a:pt x="249138" y="305395"/>
                    </a:moveTo>
                    <a:lnTo>
                      <a:pt x="24110" y="305395"/>
                    </a:lnTo>
                    <a:cubicBezTo>
                      <a:pt x="10792" y="305395"/>
                      <a:pt x="0" y="294602"/>
                      <a:pt x="0" y="281285"/>
                    </a:cubicBezTo>
                    <a:lnTo>
                      <a:pt x="0" y="24110"/>
                    </a:lnTo>
                    <a:cubicBezTo>
                      <a:pt x="0" y="10792"/>
                      <a:pt x="10793" y="0"/>
                      <a:pt x="24110" y="0"/>
                    </a:cubicBezTo>
                    <a:lnTo>
                      <a:pt x="249138" y="0"/>
                    </a:lnTo>
                    <a:cubicBezTo>
                      <a:pt x="262456" y="0"/>
                      <a:pt x="273248" y="10793"/>
                      <a:pt x="273248" y="24110"/>
                    </a:cubicBezTo>
                    <a:lnTo>
                      <a:pt x="273248" y="281285"/>
                    </a:lnTo>
                    <a:cubicBezTo>
                      <a:pt x="273248" y="294603"/>
                      <a:pt x="262455" y="305395"/>
                      <a:pt x="249138" y="305395"/>
                    </a:cubicBezTo>
                    <a:close/>
                    <a:moveTo>
                      <a:pt x="48218" y="257174"/>
                    </a:moveTo>
                    <a:lnTo>
                      <a:pt x="225022" y="257174"/>
                    </a:lnTo>
                    <a:lnTo>
                      <a:pt x="225022" y="48216"/>
                    </a:lnTo>
                    <a:lnTo>
                      <a:pt x="48218" y="48216"/>
                    </a:lnTo>
                    <a:close/>
                  </a:path>
                </a:pathLst>
              </a:custGeom>
              <a:grpFill/>
              <a:ln w="7348" cap="flat">
                <a:solidFill>
                  <a:srgbClr val="0414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E3335D49-E74B-CE1A-822E-69062475BBB2}"/>
                  </a:ext>
                </a:extLst>
              </p:cNvPr>
              <p:cNvSpPr/>
              <p:nvPr/>
            </p:nvSpPr>
            <p:spPr>
              <a:xfrm>
                <a:off x="-3946929" y="2619999"/>
                <a:ext cx="482207" cy="522384"/>
              </a:xfrm>
              <a:custGeom>
                <a:avLst/>
                <a:gdLst>
                  <a:gd name="connsiteX0" fmla="*/ 458087 w 482207"/>
                  <a:gd name="connsiteY0" fmla="*/ 522385 h 522384"/>
                  <a:gd name="connsiteX1" fmla="*/ 24108 w 482207"/>
                  <a:gd name="connsiteY1" fmla="*/ 522385 h 522384"/>
                  <a:gd name="connsiteX2" fmla="*/ 5078 w 482207"/>
                  <a:gd name="connsiteY2" fmla="*/ 513086 h 522384"/>
                  <a:gd name="connsiteX3" fmla="*/ 744 w 482207"/>
                  <a:gd name="connsiteY3" fmla="*/ 492334 h 522384"/>
                  <a:gd name="connsiteX4" fmla="*/ 121293 w 482207"/>
                  <a:gd name="connsiteY4" fmla="*/ 18169 h 522384"/>
                  <a:gd name="connsiteX5" fmla="*/ 144657 w 482207"/>
                  <a:gd name="connsiteY5" fmla="*/ 0 h 522384"/>
                  <a:gd name="connsiteX6" fmla="*/ 369685 w 482207"/>
                  <a:gd name="connsiteY6" fmla="*/ 0 h 522384"/>
                  <a:gd name="connsiteX7" fmla="*/ 393394 w 482207"/>
                  <a:gd name="connsiteY7" fmla="*/ 19690 h 522384"/>
                  <a:gd name="connsiteX8" fmla="*/ 481796 w 482207"/>
                  <a:gd name="connsiteY8" fmla="*/ 493855 h 522384"/>
                  <a:gd name="connsiteX9" fmla="*/ 476630 w 482207"/>
                  <a:gd name="connsiteY9" fmla="*/ 513688 h 522384"/>
                  <a:gd name="connsiteX10" fmla="*/ 458088 w 482207"/>
                  <a:gd name="connsiteY10" fmla="*/ 522385 h 522384"/>
                  <a:gd name="connsiteX11" fmla="*/ 55101 w 482207"/>
                  <a:gd name="connsiteY11" fmla="*/ 474165 h 522384"/>
                  <a:gd name="connsiteX12" fmla="*/ 429041 w 482207"/>
                  <a:gd name="connsiteY12" fmla="*/ 474165 h 522384"/>
                  <a:gd name="connsiteX13" fmla="*/ 349618 w 482207"/>
                  <a:gd name="connsiteY13" fmla="*/ 48217 h 522384"/>
                  <a:gd name="connsiteX14" fmla="*/ 163365 w 482207"/>
                  <a:gd name="connsiteY14" fmla="*/ 48217 h 522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82207" h="522384">
                    <a:moveTo>
                      <a:pt x="458087" y="522385"/>
                    </a:moveTo>
                    <a:lnTo>
                      <a:pt x="24108" y="522385"/>
                    </a:lnTo>
                    <a:cubicBezTo>
                      <a:pt x="16674" y="522385"/>
                      <a:pt x="9641" y="518941"/>
                      <a:pt x="5078" y="513086"/>
                    </a:cubicBezTo>
                    <a:cubicBezTo>
                      <a:pt x="515" y="507202"/>
                      <a:pt x="-1093" y="499537"/>
                      <a:pt x="744" y="492334"/>
                    </a:cubicBezTo>
                    <a:lnTo>
                      <a:pt x="121293" y="18169"/>
                    </a:lnTo>
                    <a:cubicBezTo>
                      <a:pt x="124020" y="7492"/>
                      <a:pt x="133635" y="0"/>
                      <a:pt x="144657" y="0"/>
                    </a:cubicBezTo>
                    <a:lnTo>
                      <a:pt x="369685" y="0"/>
                    </a:lnTo>
                    <a:cubicBezTo>
                      <a:pt x="381281" y="0"/>
                      <a:pt x="391270" y="8266"/>
                      <a:pt x="393394" y="19690"/>
                    </a:cubicBezTo>
                    <a:lnTo>
                      <a:pt x="481796" y="493855"/>
                    </a:lnTo>
                    <a:cubicBezTo>
                      <a:pt x="483117" y="500915"/>
                      <a:pt x="481222" y="508177"/>
                      <a:pt x="476630" y="513688"/>
                    </a:cubicBezTo>
                    <a:cubicBezTo>
                      <a:pt x="472037" y="519199"/>
                      <a:pt x="465235" y="522385"/>
                      <a:pt x="458088" y="522385"/>
                    </a:cubicBezTo>
                    <a:close/>
                    <a:moveTo>
                      <a:pt x="55101" y="474165"/>
                    </a:moveTo>
                    <a:lnTo>
                      <a:pt x="429041" y="474165"/>
                    </a:lnTo>
                    <a:lnTo>
                      <a:pt x="349618" y="48217"/>
                    </a:lnTo>
                    <a:lnTo>
                      <a:pt x="163365" y="48217"/>
                    </a:lnTo>
                    <a:close/>
                  </a:path>
                </a:pathLst>
              </a:custGeom>
              <a:grpFill/>
              <a:ln w="7348" cap="flat">
                <a:solidFill>
                  <a:srgbClr val="0414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BA45A92D-556C-5830-FBB2-95B717746DB1}"/>
                  </a:ext>
                </a:extLst>
              </p:cNvPr>
              <p:cNvSpPr/>
              <p:nvPr/>
            </p:nvSpPr>
            <p:spPr>
              <a:xfrm>
                <a:off x="-3974759" y="1716029"/>
                <a:ext cx="561910" cy="382004"/>
              </a:xfrm>
              <a:custGeom>
                <a:avLst/>
                <a:gdLst>
                  <a:gd name="connsiteX0" fmla="*/ 25574 w 561910"/>
                  <a:gd name="connsiteY0" fmla="*/ 382004 h 382004"/>
                  <a:gd name="connsiteX1" fmla="*/ 1464 w 561910"/>
                  <a:gd name="connsiteY1" fmla="*/ 358009 h 382004"/>
                  <a:gd name="connsiteX2" fmla="*/ 0 w 561910"/>
                  <a:gd name="connsiteY2" fmla="*/ 24225 h 382004"/>
                  <a:gd name="connsiteX3" fmla="*/ 23995 w 561910"/>
                  <a:gd name="connsiteY3" fmla="*/ 0 h 382004"/>
                  <a:gd name="connsiteX4" fmla="*/ 24110 w 561910"/>
                  <a:gd name="connsiteY4" fmla="*/ 0 h 382004"/>
                  <a:gd name="connsiteX5" fmla="*/ 48220 w 561910"/>
                  <a:gd name="connsiteY5" fmla="*/ 23995 h 382004"/>
                  <a:gd name="connsiteX6" fmla="*/ 49684 w 561910"/>
                  <a:gd name="connsiteY6" fmla="*/ 357779 h 382004"/>
                  <a:gd name="connsiteX7" fmla="*/ 25689 w 561910"/>
                  <a:gd name="connsiteY7" fmla="*/ 382004 h 382004"/>
                  <a:gd name="connsiteX8" fmla="*/ 25574 w 561910"/>
                  <a:gd name="connsiteY8" fmla="*/ 382004 h 382004"/>
                  <a:gd name="connsiteX9" fmla="*/ 537800 w 561910"/>
                  <a:gd name="connsiteY9" fmla="*/ 382004 h 382004"/>
                  <a:gd name="connsiteX10" fmla="*/ 513691 w 561910"/>
                  <a:gd name="connsiteY10" fmla="*/ 357980 h 382004"/>
                  <a:gd name="connsiteX11" fmla="*/ 512342 w 561910"/>
                  <a:gd name="connsiteY11" fmla="*/ 24196 h 382004"/>
                  <a:gd name="connsiteX12" fmla="*/ 536365 w 561910"/>
                  <a:gd name="connsiteY12" fmla="*/ 0 h 382004"/>
                  <a:gd name="connsiteX13" fmla="*/ 536451 w 561910"/>
                  <a:gd name="connsiteY13" fmla="*/ 0 h 382004"/>
                  <a:gd name="connsiteX14" fmla="*/ 560561 w 561910"/>
                  <a:gd name="connsiteY14" fmla="*/ 24024 h 382004"/>
                  <a:gd name="connsiteX15" fmla="*/ 561910 w 561910"/>
                  <a:gd name="connsiteY15" fmla="*/ 357808 h 382004"/>
                  <a:gd name="connsiteX16" fmla="*/ 537886 w 561910"/>
                  <a:gd name="connsiteY16" fmla="*/ 382004 h 382004"/>
                  <a:gd name="connsiteX17" fmla="*/ 537800 w 561910"/>
                  <a:gd name="connsiteY17" fmla="*/ 382004 h 382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61910" h="382004">
                    <a:moveTo>
                      <a:pt x="25574" y="382004"/>
                    </a:moveTo>
                    <a:cubicBezTo>
                      <a:pt x="12313" y="382004"/>
                      <a:pt x="1521" y="371270"/>
                      <a:pt x="1464" y="358009"/>
                    </a:cubicBezTo>
                    <a:lnTo>
                      <a:pt x="0" y="24225"/>
                    </a:lnTo>
                    <a:cubicBezTo>
                      <a:pt x="-57" y="10907"/>
                      <a:pt x="10677" y="57"/>
                      <a:pt x="23995" y="0"/>
                    </a:cubicBezTo>
                    <a:lnTo>
                      <a:pt x="24110" y="0"/>
                    </a:lnTo>
                    <a:cubicBezTo>
                      <a:pt x="37371" y="0"/>
                      <a:pt x="48163" y="10734"/>
                      <a:pt x="48220" y="23995"/>
                    </a:cubicBezTo>
                    <a:lnTo>
                      <a:pt x="49684" y="357779"/>
                    </a:lnTo>
                    <a:cubicBezTo>
                      <a:pt x="49741" y="371097"/>
                      <a:pt x="39007" y="381947"/>
                      <a:pt x="25689" y="382004"/>
                    </a:cubicBezTo>
                    <a:lnTo>
                      <a:pt x="25574" y="382004"/>
                    </a:lnTo>
                    <a:close/>
                    <a:moveTo>
                      <a:pt x="537800" y="382004"/>
                    </a:moveTo>
                    <a:cubicBezTo>
                      <a:pt x="524540" y="382004"/>
                      <a:pt x="513748" y="371270"/>
                      <a:pt x="513691" y="357980"/>
                    </a:cubicBezTo>
                    <a:lnTo>
                      <a:pt x="512342" y="24196"/>
                    </a:lnTo>
                    <a:cubicBezTo>
                      <a:pt x="512284" y="10878"/>
                      <a:pt x="523047" y="57"/>
                      <a:pt x="536365" y="0"/>
                    </a:cubicBezTo>
                    <a:lnTo>
                      <a:pt x="536451" y="0"/>
                    </a:lnTo>
                    <a:cubicBezTo>
                      <a:pt x="549712" y="0"/>
                      <a:pt x="560504" y="10734"/>
                      <a:pt x="560561" y="24024"/>
                    </a:cubicBezTo>
                    <a:lnTo>
                      <a:pt x="561910" y="357808"/>
                    </a:lnTo>
                    <a:cubicBezTo>
                      <a:pt x="561968" y="371126"/>
                      <a:pt x="551204" y="381947"/>
                      <a:pt x="537886" y="382004"/>
                    </a:cubicBezTo>
                    <a:lnTo>
                      <a:pt x="537800" y="382004"/>
                    </a:lnTo>
                    <a:close/>
                  </a:path>
                </a:pathLst>
              </a:custGeom>
              <a:grpFill/>
              <a:ln w="7348" cap="flat">
                <a:solidFill>
                  <a:srgbClr val="0414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70738DDB-C82C-5A45-5771-55A2EE2F651F}"/>
                  </a:ext>
                </a:extLst>
              </p:cNvPr>
              <p:cNvSpPr/>
              <p:nvPr/>
            </p:nvSpPr>
            <p:spPr>
              <a:xfrm>
                <a:off x="-3898704" y="1508812"/>
                <a:ext cx="409859" cy="98618"/>
              </a:xfrm>
              <a:custGeom>
                <a:avLst/>
                <a:gdLst>
                  <a:gd name="connsiteX0" fmla="*/ 385761 w 409859"/>
                  <a:gd name="connsiteY0" fmla="*/ 98605 h 98618"/>
                  <a:gd name="connsiteX1" fmla="*/ 373993 w 409859"/>
                  <a:gd name="connsiteY1" fmla="*/ 95534 h 98618"/>
                  <a:gd name="connsiteX2" fmla="*/ 37946 w 409859"/>
                  <a:gd name="connsiteY2" fmla="*/ 94242 h 98618"/>
                  <a:gd name="connsiteX3" fmla="*/ 4364 w 409859"/>
                  <a:gd name="connsiteY3" fmla="*/ 88329 h 98618"/>
                  <a:gd name="connsiteX4" fmla="*/ 10277 w 409859"/>
                  <a:gd name="connsiteY4" fmla="*/ 54748 h 98618"/>
                  <a:gd name="connsiteX5" fmla="*/ 397531 w 409859"/>
                  <a:gd name="connsiteY5" fmla="*/ 53456 h 98618"/>
                  <a:gd name="connsiteX6" fmla="*/ 406773 w 409859"/>
                  <a:gd name="connsiteY6" fmla="*/ 86263 h 98618"/>
                  <a:gd name="connsiteX7" fmla="*/ 385762 w 409859"/>
                  <a:gd name="connsiteY7" fmla="*/ 98605 h 986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9859" h="98618">
                    <a:moveTo>
                      <a:pt x="385761" y="98605"/>
                    </a:moveTo>
                    <a:cubicBezTo>
                      <a:pt x="381771" y="98605"/>
                      <a:pt x="377724" y="97629"/>
                      <a:pt x="373993" y="95534"/>
                    </a:cubicBezTo>
                    <a:cubicBezTo>
                      <a:pt x="188430" y="-8402"/>
                      <a:pt x="39437" y="93209"/>
                      <a:pt x="37946" y="94242"/>
                    </a:cubicBezTo>
                    <a:cubicBezTo>
                      <a:pt x="27039" y="101906"/>
                      <a:pt x="11999" y="99237"/>
                      <a:pt x="4364" y="88329"/>
                    </a:cubicBezTo>
                    <a:cubicBezTo>
                      <a:pt x="-3271" y="77422"/>
                      <a:pt x="-630" y="62383"/>
                      <a:pt x="10277" y="54748"/>
                    </a:cubicBezTo>
                    <a:cubicBezTo>
                      <a:pt x="17337" y="49811"/>
                      <a:pt x="185854" y="-65089"/>
                      <a:pt x="397531" y="53456"/>
                    </a:cubicBezTo>
                    <a:cubicBezTo>
                      <a:pt x="409155" y="59971"/>
                      <a:pt x="413288" y="74667"/>
                      <a:pt x="406773" y="86263"/>
                    </a:cubicBezTo>
                    <a:cubicBezTo>
                      <a:pt x="402410" y="94156"/>
                      <a:pt x="394201" y="98605"/>
                      <a:pt x="385762" y="98605"/>
                    </a:cubicBezTo>
                    <a:close/>
                  </a:path>
                </a:pathLst>
              </a:custGeom>
              <a:grpFill/>
              <a:ln w="7348" cap="flat">
                <a:solidFill>
                  <a:srgbClr val="0414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80FFBB55-5448-F6CE-0ADB-BC0090DA779C}"/>
                  </a:ext>
                </a:extLst>
              </p:cNvPr>
              <p:cNvSpPr/>
              <p:nvPr/>
            </p:nvSpPr>
            <p:spPr>
              <a:xfrm>
                <a:off x="-4043303" y="1235887"/>
                <a:ext cx="192858" cy="66153"/>
              </a:xfrm>
              <a:custGeom>
                <a:avLst/>
                <a:gdLst>
                  <a:gd name="connsiteX0" fmla="*/ 168699 w 192858"/>
                  <a:gd name="connsiteY0" fmla="*/ 66153 h 66153"/>
                  <a:gd name="connsiteX1" fmla="*/ 157936 w 192858"/>
                  <a:gd name="connsiteY1" fmla="*/ 63599 h 66153"/>
                  <a:gd name="connsiteX2" fmla="*/ 36696 w 192858"/>
                  <a:gd name="connsiteY2" fmla="*/ 62565 h 66153"/>
                  <a:gd name="connsiteX3" fmla="*/ 3602 w 192858"/>
                  <a:gd name="connsiteY3" fmla="*/ 54615 h 66153"/>
                  <a:gd name="connsiteX4" fmla="*/ 11294 w 192858"/>
                  <a:gd name="connsiteY4" fmla="*/ 21578 h 66153"/>
                  <a:gd name="connsiteX5" fmla="*/ 179523 w 192858"/>
                  <a:gd name="connsiteY5" fmla="*/ 20459 h 66153"/>
                  <a:gd name="connsiteX6" fmla="*/ 190316 w 192858"/>
                  <a:gd name="connsiteY6" fmla="*/ 52806 h 66153"/>
                  <a:gd name="connsiteX7" fmla="*/ 168703 w 192858"/>
                  <a:gd name="connsiteY7" fmla="*/ 66153 h 66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2858" h="66153">
                    <a:moveTo>
                      <a:pt x="168699" y="66153"/>
                    </a:moveTo>
                    <a:cubicBezTo>
                      <a:pt x="165082" y="66153"/>
                      <a:pt x="161379" y="65321"/>
                      <a:pt x="157936" y="63599"/>
                    </a:cubicBezTo>
                    <a:cubicBezTo>
                      <a:pt x="91403" y="30333"/>
                      <a:pt x="38908" y="61245"/>
                      <a:pt x="36696" y="62565"/>
                    </a:cubicBezTo>
                    <a:cubicBezTo>
                      <a:pt x="25358" y="69425"/>
                      <a:pt x="10548" y="65895"/>
                      <a:pt x="3602" y="54615"/>
                    </a:cubicBezTo>
                    <a:cubicBezTo>
                      <a:pt x="-3344" y="43334"/>
                      <a:pt x="43" y="28610"/>
                      <a:pt x="11294" y="21578"/>
                    </a:cubicBezTo>
                    <a:cubicBezTo>
                      <a:pt x="14394" y="19655"/>
                      <a:pt x="88102" y="-25264"/>
                      <a:pt x="179523" y="20459"/>
                    </a:cubicBezTo>
                    <a:cubicBezTo>
                      <a:pt x="191435" y="26400"/>
                      <a:pt x="196257" y="40895"/>
                      <a:pt x="190316" y="52806"/>
                    </a:cubicBezTo>
                    <a:cubicBezTo>
                      <a:pt x="186068" y="61273"/>
                      <a:pt x="177543" y="66153"/>
                      <a:pt x="168703" y="66153"/>
                    </a:cubicBezTo>
                    <a:close/>
                  </a:path>
                </a:pathLst>
              </a:custGeom>
              <a:grpFill/>
              <a:ln w="7348" cap="flat">
                <a:solidFill>
                  <a:srgbClr val="0414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3FA65B2B-B0A7-B0E3-06F1-4A9666D4B463}"/>
                  </a:ext>
                </a:extLst>
              </p:cNvPr>
              <p:cNvSpPr/>
              <p:nvPr/>
            </p:nvSpPr>
            <p:spPr>
              <a:xfrm>
                <a:off x="-3537029" y="1235887"/>
                <a:ext cx="192851" cy="66153"/>
              </a:xfrm>
              <a:custGeom>
                <a:avLst/>
                <a:gdLst>
                  <a:gd name="connsiteX0" fmla="*/ 168692 w 192851"/>
                  <a:gd name="connsiteY0" fmla="*/ 66153 h 66153"/>
                  <a:gd name="connsiteX1" fmla="*/ 157929 w 192851"/>
                  <a:gd name="connsiteY1" fmla="*/ 63599 h 66153"/>
                  <a:gd name="connsiteX2" fmla="*/ 36689 w 192851"/>
                  <a:gd name="connsiteY2" fmla="*/ 62565 h 66153"/>
                  <a:gd name="connsiteX3" fmla="*/ 3595 w 192851"/>
                  <a:gd name="connsiteY3" fmla="*/ 54615 h 66153"/>
                  <a:gd name="connsiteX4" fmla="*/ 11287 w 192851"/>
                  <a:gd name="connsiteY4" fmla="*/ 21578 h 66153"/>
                  <a:gd name="connsiteX5" fmla="*/ 179517 w 192851"/>
                  <a:gd name="connsiteY5" fmla="*/ 20459 h 66153"/>
                  <a:gd name="connsiteX6" fmla="*/ 190309 w 192851"/>
                  <a:gd name="connsiteY6" fmla="*/ 52806 h 66153"/>
                  <a:gd name="connsiteX7" fmla="*/ 168696 w 192851"/>
                  <a:gd name="connsiteY7" fmla="*/ 66153 h 66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2851" h="66153">
                    <a:moveTo>
                      <a:pt x="168692" y="66153"/>
                    </a:moveTo>
                    <a:cubicBezTo>
                      <a:pt x="165075" y="66153"/>
                      <a:pt x="161373" y="65321"/>
                      <a:pt x="157929" y="63599"/>
                    </a:cubicBezTo>
                    <a:cubicBezTo>
                      <a:pt x="91425" y="30333"/>
                      <a:pt x="38871" y="61245"/>
                      <a:pt x="36689" y="62565"/>
                    </a:cubicBezTo>
                    <a:cubicBezTo>
                      <a:pt x="25323" y="69425"/>
                      <a:pt x="10512" y="65895"/>
                      <a:pt x="3595" y="54615"/>
                    </a:cubicBezTo>
                    <a:cubicBezTo>
                      <a:pt x="-3351" y="43334"/>
                      <a:pt x="65" y="28610"/>
                      <a:pt x="11287" y="21578"/>
                    </a:cubicBezTo>
                    <a:cubicBezTo>
                      <a:pt x="14387" y="19655"/>
                      <a:pt x="88124" y="-25264"/>
                      <a:pt x="179517" y="20459"/>
                    </a:cubicBezTo>
                    <a:cubicBezTo>
                      <a:pt x="191428" y="26400"/>
                      <a:pt x="196250" y="40895"/>
                      <a:pt x="190309" y="52806"/>
                    </a:cubicBezTo>
                    <a:cubicBezTo>
                      <a:pt x="186061" y="61273"/>
                      <a:pt x="177536" y="66153"/>
                      <a:pt x="168696" y="66153"/>
                    </a:cubicBezTo>
                    <a:close/>
                  </a:path>
                </a:pathLst>
              </a:custGeom>
              <a:grpFill/>
              <a:ln w="7348" cap="flat">
                <a:solidFill>
                  <a:srgbClr val="0414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284592CD-621F-DD52-00CE-EFFA37C8E841}"/>
                  </a:ext>
                </a:extLst>
              </p:cNvPr>
              <p:cNvSpPr/>
              <p:nvPr/>
            </p:nvSpPr>
            <p:spPr>
              <a:xfrm>
                <a:off x="-2789675" y="932334"/>
                <a:ext cx="771540" cy="996551"/>
              </a:xfrm>
              <a:custGeom>
                <a:avLst/>
                <a:gdLst>
                  <a:gd name="connsiteX0" fmla="*/ 377735 w 771540"/>
                  <a:gd name="connsiteY0" fmla="*/ 996551 h 996551"/>
                  <a:gd name="connsiteX1" fmla="*/ 364791 w 771540"/>
                  <a:gd name="connsiteY1" fmla="*/ 992791 h 996551"/>
                  <a:gd name="connsiteX2" fmla="*/ 11175 w 771540"/>
                  <a:gd name="connsiteY2" fmla="*/ 767763 h 996551"/>
                  <a:gd name="connsiteX3" fmla="*/ 957 w 771540"/>
                  <a:gd name="connsiteY3" fmla="*/ 740668 h 996551"/>
                  <a:gd name="connsiteX4" fmla="*/ 24091 w 771540"/>
                  <a:gd name="connsiteY4" fmla="*/ 723303 h 996551"/>
                  <a:gd name="connsiteX5" fmla="*/ 200895 w 771540"/>
                  <a:gd name="connsiteY5" fmla="*/ 723303 h 996551"/>
                  <a:gd name="connsiteX6" fmla="*/ 200895 w 771540"/>
                  <a:gd name="connsiteY6" fmla="*/ 24110 h 996551"/>
                  <a:gd name="connsiteX7" fmla="*/ 225005 w 771540"/>
                  <a:gd name="connsiteY7" fmla="*/ 0 h 996551"/>
                  <a:gd name="connsiteX8" fmla="*/ 249115 w 771540"/>
                  <a:gd name="connsiteY8" fmla="*/ 24110 h 996551"/>
                  <a:gd name="connsiteX9" fmla="*/ 249115 w 771540"/>
                  <a:gd name="connsiteY9" fmla="*/ 747418 h 996551"/>
                  <a:gd name="connsiteX10" fmla="*/ 225005 w 771540"/>
                  <a:gd name="connsiteY10" fmla="*/ 771528 h 996551"/>
                  <a:gd name="connsiteX11" fmla="*/ 106896 w 771540"/>
                  <a:gd name="connsiteY11" fmla="*/ 771528 h 996551"/>
                  <a:gd name="connsiteX12" fmla="*/ 377995 w 771540"/>
                  <a:gd name="connsiteY12" fmla="*/ 944034 h 996551"/>
                  <a:gd name="connsiteX13" fmla="*/ 661431 w 771540"/>
                  <a:gd name="connsiteY13" fmla="*/ 771528 h 996551"/>
                  <a:gd name="connsiteX14" fmla="*/ 546503 w 771540"/>
                  <a:gd name="connsiteY14" fmla="*/ 771528 h 996551"/>
                  <a:gd name="connsiteX15" fmla="*/ 522393 w 771540"/>
                  <a:gd name="connsiteY15" fmla="*/ 747418 h 996551"/>
                  <a:gd name="connsiteX16" fmla="*/ 522393 w 771540"/>
                  <a:gd name="connsiteY16" fmla="*/ 24110 h 996551"/>
                  <a:gd name="connsiteX17" fmla="*/ 546503 w 771540"/>
                  <a:gd name="connsiteY17" fmla="*/ 0 h 996551"/>
                  <a:gd name="connsiteX18" fmla="*/ 570613 w 771540"/>
                  <a:gd name="connsiteY18" fmla="*/ 24110 h 996551"/>
                  <a:gd name="connsiteX19" fmla="*/ 570613 w 771540"/>
                  <a:gd name="connsiteY19" fmla="*/ 723303 h 996551"/>
                  <a:gd name="connsiteX20" fmla="*/ 747417 w 771540"/>
                  <a:gd name="connsiteY20" fmla="*/ 723303 h 996551"/>
                  <a:gd name="connsiteX21" fmla="*/ 770638 w 771540"/>
                  <a:gd name="connsiteY21" fmla="*/ 740897 h 996551"/>
                  <a:gd name="connsiteX22" fmla="*/ 759961 w 771540"/>
                  <a:gd name="connsiteY22" fmla="*/ 767992 h 996551"/>
                  <a:gd name="connsiteX23" fmla="*/ 390275 w 771540"/>
                  <a:gd name="connsiteY23" fmla="*/ 993020 h 996551"/>
                  <a:gd name="connsiteX24" fmla="*/ 377733 w 771540"/>
                  <a:gd name="connsiteY24" fmla="*/ 996551 h 9965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771540" h="996551">
                    <a:moveTo>
                      <a:pt x="377735" y="996551"/>
                    </a:moveTo>
                    <a:cubicBezTo>
                      <a:pt x="373229" y="996551"/>
                      <a:pt x="368751" y="995288"/>
                      <a:pt x="364791" y="992791"/>
                    </a:cubicBezTo>
                    <a:lnTo>
                      <a:pt x="11175" y="767763"/>
                    </a:lnTo>
                    <a:cubicBezTo>
                      <a:pt x="2133" y="762022"/>
                      <a:pt x="-2028" y="750972"/>
                      <a:pt x="957" y="740668"/>
                    </a:cubicBezTo>
                    <a:cubicBezTo>
                      <a:pt x="3942" y="730393"/>
                      <a:pt x="13385" y="723303"/>
                      <a:pt x="24091" y="723303"/>
                    </a:cubicBezTo>
                    <a:lnTo>
                      <a:pt x="200895" y="723303"/>
                    </a:lnTo>
                    <a:lnTo>
                      <a:pt x="200895" y="24110"/>
                    </a:lnTo>
                    <a:cubicBezTo>
                      <a:pt x="200895" y="10792"/>
                      <a:pt x="211688" y="0"/>
                      <a:pt x="225005" y="0"/>
                    </a:cubicBezTo>
                    <a:cubicBezTo>
                      <a:pt x="238322" y="0"/>
                      <a:pt x="249115" y="10793"/>
                      <a:pt x="249115" y="24110"/>
                    </a:cubicBezTo>
                    <a:lnTo>
                      <a:pt x="249115" y="747418"/>
                    </a:lnTo>
                    <a:cubicBezTo>
                      <a:pt x="249115" y="760736"/>
                      <a:pt x="238322" y="771528"/>
                      <a:pt x="225005" y="771528"/>
                    </a:cubicBezTo>
                    <a:lnTo>
                      <a:pt x="106896" y="771528"/>
                    </a:lnTo>
                    <a:lnTo>
                      <a:pt x="377995" y="944034"/>
                    </a:lnTo>
                    <a:lnTo>
                      <a:pt x="661431" y="771528"/>
                    </a:lnTo>
                    <a:lnTo>
                      <a:pt x="546503" y="771528"/>
                    </a:lnTo>
                    <a:cubicBezTo>
                      <a:pt x="533185" y="771528"/>
                      <a:pt x="522393" y="760736"/>
                      <a:pt x="522393" y="747418"/>
                    </a:cubicBezTo>
                    <a:lnTo>
                      <a:pt x="522393" y="24110"/>
                    </a:lnTo>
                    <a:cubicBezTo>
                      <a:pt x="522393" y="10792"/>
                      <a:pt x="533186" y="0"/>
                      <a:pt x="546503" y="0"/>
                    </a:cubicBezTo>
                    <a:cubicBezTo>
                      <a:pt x="559820" y="0"/>
                      <a:pt x="570613" y="10793"/>
                      <a:pt x="570613" y="24110"/>
                    </a:cubicBezTo>
                    <a:lnTo>
                      <a:pt x="570613" y="723303"/>
                    </a:lnTo>
                    <a:lnTo>
                      <a:pt x="747417" y="723303"/>
                    </a:lnTo>
                    <a:cubicBezTo>
                      <a:pt x="758238" y="723303"/>
                      <a:pt x="767710" y="730507"/>
                      <a:pt x="770638" y="740897"/>
                    </a:cubicBezTo>
                    <a:cubicBezTo>
                      <a:pt x="773566" y="751316"/>
                      <a:pt x="769203" y="762367"/>
                      <a:pt x="759961" y="767992"/>
                    </a:cubicBezTo>
                    <a:lnTo>
                      <a:pt x="390275" y="993020"/>
                    </a:lnTo>
                    <a:cubicBezTo>
                      <a:pt x="386400" y="995374"/>
                      <a:pt x="382066" y="996551"/>
                      <a:pt x="377733" y="996551"/>
                    </a:cubicBezTo>
                    <a:close/>
                  </a:path>
                </a:pathLst>
              </a:custGeom>
              <a:grpFill/>
              <a:ln w="7348" cap="flat">
                <a:solidFill>
                  <a:srgbClr val="0414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AE531AC9-C887-A61C-2DEB-085CFACFA92F}"/>
                  </a:ext>
                </a:extLst>
              </p:cNvPr>
              <p:cNvSpPr/>
              <p:nvPr/>
            </p:nvSpPr>
            <p:spPr>
              <a:xfrm>
                <a:off x="-5393562" y="3279037"/>
                <a:ext cx="2314592" cy="48219"/>
              </a:xfrm>
              <a:custGeom>
                <a:avLst/>
                <a:gdLst>
                  <a:gd name="connsiteX0" fmla="*/ 2290483 w 2314592"/>
                  <a:gd name="connsiteY0" fmla="*/ 48220 h 48219"/>
                  <a:gd name="connsiteX1" fmla="*/ 24110 w 2314592"/>
                  <a:gd name="connsiteY1" fmla="*/ 48220 h 48219"/>
                  <a:gd name="connsiteX2" fmla="*/ 0 w 2314592"/>
                  <a:gd name="connsiteY2" fmla="*/ 24110 h 48219"/>
                  <a:gd name="connsiteX3" fmla="*/ 24110 w 2314592"/>
                  <a:gd name="connsiteY3" fmla="*/ 0 h 48219"/>
                  <a:gd name="connsiteX4" fmla="*/ 2290483 w 2314592"/>
                  <a:gd name="connsiteY4" fmla="*/ 0 h 48219"/>
                  <a:gd name="connsiteX5" fmla="*/ 2314593 w 2314592"/>
                  <a:gd name="connsiteY5" fmla="*/ 24110 h 48219"/>
                  <a:gd name="connsiteX6" fmla="*/ 2290483 w 2314592"/>
                  <a:gd name="connsiteY6" fmla="*/ 48220 h 48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14592" h="48219">
                    <a:moveTo>
                      <a:pt x="2290483" y="48220"/>
                    </a:moveTo>
                    <a:lnTo>
                      <a:pt x="24110" y="48220"/>
                    </a:lnTo>
                    <a:cubicBezTo>
                      <a:pt x="10792" y="48220"/>
                      <a:pt x="0" y="37427"/>
                      <a:pt x="0" y="24110"/>
                    </a:cubicBezTo>
                    <a:cubicBezTo>
                      <a:pt x="0" y="10793"/>
                      <a:pt x="10793" y="0"/>
                      <a:pt x="24110" y="0"/>
                    </a:cubicBezTo>
                    <a:lnTo>
                      <a:pt x="2290483" y="0"/>
                    </a:lnTo>
                    <a:cubicBezTo>
                      <a:pt x="2303801" y="0"/>
                      <a:pt x="2314593" y="10793"/>
                      <a:pt x="2314593" y="24110"/>
                    </a:cubicBezTo>
                    <a:cubicBezTo>
                      <a:pt x="2314593" y="37427"/>
                      <a:pt x="2303800" y="48220"/>
                      <a:pt x="2290483" y="48220"/>
                    </a:cubicBezTo>
                    <a:close/>
                  </a:path>
                </a:pathLst>
              </a:custGeom>
              <a:grpFill/>
              <a:ln w="7348" cap="flat">
                <a:solidFill>
                  <a:srgbClr val="0414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88796CBC-24CB-CDB6-6915-F194B7F60C77}"/>
                  </a:ext>
                </a:extLst>
              </p:cNvPr>
              <p:cNvSpPr/>
              <p:nvPr/>
            </p:nvSpPr>
            <p:spPr>
              <a:xfrm>
                <a:off x="-4067494" y="3415633"/>
                <a:ext cx="1623453" cy="48219"/>
              </a:xfrm>
              <a:custGeom>
                <a:avLst/>
                <a:gdLst>
                  <a:gd name="connsiteX0" fmla="*/ 1599344 w 1623453"/>
                  <a:gd name="connsiteY0" fmla="*/ 48220 h 48219"/>
                  <a:gd name="connsiteX1" fmla="*/ 24110 w 1623453"/>
                  <a:gd name="connsiteY1" fmla="*/ 48220 h 48219"/>
                  <a:gd name="connsiteX2" fmla="*/ 0 w 1623453"/>
                  <a:gd name="connsiteY2" fmla="*/ 24110 h 48219"/>
                  <a:gd name="connsiteX3" fmla="*/ 24110 w 1623453"/>
                  <a:gd name="connsiteY3" fmla="*/ 0 h 48219"/>
                  <a:gd name="connsiteX4" fmla="*/ 1599344 w 1623453"/>
                  <a:gd name="connsiteY4" fmla="*/ 0 h 48219"/>
                  <a:gd name="connsiteX5" fmla="*/ 1623453 w 1623453"/>
                  <a:gd name="connsiteY5" fmla="*/ 24110 h 48219"/>
                  <a:gd name="connsiteX6" fmla="*/ 1599344 w 1623453"/>
                  <a:gd name="connsiteY6" fmla="*/ 48220 h 48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23453" h="48219">
                    <a:moveTo>
                      <a:pt x="1599344" y="48220"/>
                    </a:moveTo>
                    <a:lnTo>
                      <a:pt x="24110" y="48220"/>
                    </a:lnTo>
                    <a:cubicBezTo>
                      <a:pt x="10792" y="48220"/>
                      <a:pt x="0" y="37427"/>
                      <a:pt x="0" y="24110"/>
                    </a:cubicBezTo>
                    <a:cubicBezTo>
                      <a:pt x="0" y="10793"/>
                      <a:pt x="10793" y="0"/>
                      <a:pt x="24110" y="0"/>
                    </a:cubicBezTo>
                    <a:lnTo>
                      <a:pt x="1599344" y="0"/>
                    </a:lnTo>
                    <a:cubicBezTo>
                      <a:pt x="1612662" y="0"/>
                      <a:pt x="1623453" y="10793"/>
                      <a:pt x="1623453" y="24110"/>
                    </a:cubicBezTo>
                    <a:cubicBezTo>
                      <a:pt x="1623453" y="37427"/>
                      <a:pt x="1612661" y="48220"/>
                      <a:pt x="1599344" y="48220"/>
                    </a:cubicBezTo>
                    <a:close/>
                  </a:path>
                </a:pathLst>
              </a:custGeom>
              <a:grpFill/>
              <a:ln w="7348" cap="flat">
                <a:solidFill>
                  <a:srgbClr val="0414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901D119D-375A-6459-90F3-80D639427D42}"/>
                  </a:ext>
                </a:extLst>
              </p:cNvPr>
              <p:cNvSpPr/>
              <p:nvPr/>
            </p:nvSpPr>
            <p:spPr>
              <a:xfrm>
                <a:off x="-2331563" y="3415633"/>
                <a:ext cx="241101" cy="48219"/>
              </a:xfrm>
              <a:custGeom>
                <a:avLst/>
                <a:gdLst>
                  <a:gd name="connsiteX0" fmla="*/ 216991 w 241101"/>
                  <a:gd name="connsiteY0" fmla="*/ 48220 h 48219"/>
                  <a:gd name="connsiteX1" fmla="*/ 24110 w 241101"/>
                  <a:gd name="connsiteY1" fmla="*/ 48220 h 48219"/>
                  <a:gd name="connsiteX2" fmla="*/ 0 w 241101"/>
                  <a:gd name="connsiteY2" fmla="*/ 24110 h 48219"/>
                  <a:gd name="connsiteX3" fmla="*/ 24110 w 241101"/>
                  <a:gd name="connsiteY3" fmla="*/ 0 h 48219"/>
                  <a:gd name="connsiteX4" fmla="*/ 216991 w 241101"/>
                  <a:gd name="connsiteY4" fmla="*/ 0 h 48219"/>
                  <a:gd name="connsiteX5" fmla="*/ 241101 w 241101"/>
                  <a:gd name="connsiteY5" fmla="*/ 24110 h 48219"/>
                  <a:gd name="connsiteX6" fmla="*/ 216991 w 241101"/>
                  <a:gd name="connsiteY6" fmla="*/ 48220 h 48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1101" h="48219">
                    <a:moveTo>
                      <a:pt x="216991" y="48220"/>
                    </a:moveTo>
                    <a:lnTo>
                      <a:pt x="24110" y="48220"/>
                    </a:lnTo>
                    <a:cubicBezTo>
                      <a:pt x="10792" y="48220"/>
                      <a:pt x="0" y="37427"/>
                      <a:pt x="0" y="24110"/>
                    </a:cubicBezTo>
                    <a:cubicBezTo>
                      <a:pt x="0" y="10793"/>
                      <a:pt x="10793" y="0"/>
                      <a:pt x="24110" y="0"/>
                    </a:cubicBezTo>
                    <a:lnTo>
                      <a:pt x="216991" y="0"/>
                    </a:lnTo>
                    <a:cubicBezTo>
                      <a:pt x="230309" y="0"/>
                      <a:pt x="241101" y="10793"/>
                      <a:pt x="241101" y="24110"/>
                    </a:cubicBezTo>
                    <a:cubicBezTo>
                      <a:pt x="241101" y="37427"/>
                      <a:pt x="230309" y="48220"/>
                      <a:pt x="216991" y="48220"/>
                    </a:cubicBezTo>
                    <a:close/>
                  </a:path>
                </a:pathLst>
              </a:custGeom>
              <a:grpFill/>
              <a:ln w="7348" cap="flat">
                <a:solidFill>
                  <a:srgbClr val="0414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2965DF04-553F-7D2D-B183-2BCB248A3E42}"/>
                  </a:ext>
                </a:extLst>
              </p:cNvPr>
              <p:cNvSpPr/>
              <p:nvPr/>
            </p:nvSpPr>
            <p:spPr>
              <a:xfrm>
                <a:off x="-5481957" y="3407624"/>
                <a:ext cx="795643" cy="48219"/>
              </a:xfrm>
              <a:custGeom>
                <a:avLst/>
                <a:gdLst>
                  <a:gd name="connsiteX0" fmla="*/ 771534 w 795643"/>
                  <a:gd name="connsiteY0" fmla="*/ 48220 h 48219"/>
                  <a:gd name="connsiteX1" fmla="*/ 24110 w 795643"/>
                  <a:gd name="connsiteY1" fmla="*/ 48220 h 48219"/>
                  <a:gd name="connsiteX2" fmla="*/ 0 w 795643"/>
                  <a:gd name="connsiteY2" fmla="*/ 24110 h 48219"/>
                  <a:gd name="connsiteX3" fmla="*/ 24110 w 795643"/>
                  <a:gd name="connsiteY3" fmla="*/ 0 h 48219"/>
                  <a:gd name="connsiteX4" fmla="*/ 771534 w 795643"/>
                  <a:gd name="connsiteY4" fmla="*/ 0 h 48219"/>
                  <a:gd name="connsiteX5" fmla="*/ 795644 w 795643"/>
                  <a:gd name="connsiteY5" fmla="*/ 24110 h 48219"/>
                  <a:gd name="connsiteX6" fmla="*/ 771534 w 795643"/>
                  <a:gd name="connsiteY6" fmla="*/ 48220 h 48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5643" h="48219">
                    <a:moveTo>
                      <a:pt x="771534" y="48220"/>
                    </a:moveTo>
                    <a:lnTo>
                      <a:pt x="24110" y="48220"/>
                    </a:lnTo>
                    <a:cubicBezTo>
                      <a:pt x="10792" y="48220"/>
                      <a:pt x="0" y="37427"/>
                      <a:pt x="0" y="24110"/>
                    </a:cubicBezTo>
                    <a:cubicBezTo>
                      <a:pt x="0" y="10793"/>
                      <a:pt x="10793" y="0"/>
                      <a:pt x="24110" y="0"/>
                    </a:cubicBezTo>
                    <a:lnTo>
                      <a:pt x="771534" y="0"/>
                    </a:lnTo>
                    <a:cubicBezTo>
                      <a:pt x="784852" y="0"/>
                      <a:pt x="795644" y="10793"/>
                      <a:pt x="795644" y="24110"/>
                    </a:cubicBezTo>
                    <a:cubicBezTo>
                      <a:pt x="795644" y="37427"/>
                      <a:pt x="784851" y="48220"/>
                      <a:pt x="771534" y="48220"/>
                    </a:cubicBezTo>
                    <a:close/>
                  </a:path>
                </a:pathLst>
              </a:custGeom>
              <a:grpFill/>
              <a:ln w="7348" cap="flat">
                <a:solidFill>
                  <a:srgbClr val="0414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00FCA15C-38D1-65A9-8E8E-0616C18C350B}"/>
                  </a:ext>
                </a:extLst>
              </p:cNvPr>
              <p:cNvSpPr/>
              <p:nvPr/>
            </p:nvSpPr>
            <p:spPr>
              <a:xfrm>
                <a:off x="-5763224" y="1350212"/>
                <a:ext cx="1293913" cy="1293913"/>
              </a:xfrm>
              <a:custGeom>
                <a:avLst/>
                <a:gdLst>
                  <a:gd name="connsiteX0" fmla="*/ 642938 w 1293913"/>
                  <a:gd name="connsiteY0" fmla="*/ 1293914 h 1293913"/>
                  <a:gd name="connsiteX1" fmla="*/ 189810 w 1293913"/>
                  <a:gd name="connsiteY1" fmla="*/ 1102928 h 1293913"/>
                  <a:gd name="connsiteX2" fmla="*/ 0 w 1293913"/>
                  <a:gd name="connsiteY2" fmla="*/ 642938 h 1293913"/>
                  <a:gd name="connsiteX3" fmla="*/ 642938 w 1293913"/>
                  <a:gd name="connsiteY3" fmla="*/ 0 h 1293913"/>
                  <a:gd name="connsiteX4" fmla="*/ 1102869 w 1293913"/>
                  <a:gd name="connsiteY4" fmla="*/ 186738 h 1293913"/>
                  <a:gd name="connsiteX5" fmla="*/ 1293914 w 1293913"/>
                  <a:gd name="connsiteY5" fmla="*/ 642938 h 1293913"/>
                  <a:gd name="connsiteX6" fmla="*/ 642938 w 1293913"/>
                  <a:gd name="connsiteY6" fmla="*/ 1293914 h 1293913"/>
                  <a:gd name="connsiteX7" fmla="*/ 642938 w 1293913"/>
                  <a:gd name="connsiteY7" fmla="*/ 48231 h 1293913"/>
                  <a:gd name="connsiteX8" fmla="*/ 48217 w 1293913"/>
                  <a:gd name="connsiteY8" fmla="*/ 642952 h 1293913"/>
                  <a:gd name="connsiteX9" fmla="*/ 642938 w 1293913"/>
                  <a:gd name="connsiteY9" fmla="*/ 1245704 h 1293913"/>
                  <a:gd name="connsiteX10" fmla="*/ 1245690 w 1293913"/>
                  <a:gd name="connsiteY10" fmla="*/ 642952 h 1293913"/>
                  <a:gd name="connsiteX11" fmla="*/ 642938 w 1293913"/>
                  <a:gd name="connsiteY11" fmla="*/ 48231 h 1293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93913" h="1293913">
                    <a:moveTo>
                      <a:pt x="642938" y="1293914"/>
                    </a:moveTo>
                    <a:cubicBezTo>
                      <a:pt x="472820" y="1293914"/>
                      <a:pt x="311880" y="1226089"/>
                      <a:pt x="189810" y="1102928"/>
                    </a:cubicBezTo>
                    <a:cubicBezTo>
                      <a:pt x="67395" y="979418"/>
                      <a:pt x="0" y="816075"/>
                      <a:pt x="0" y="642938"/>
                    </a:cubicBezTo>
                    <a:cubicBezTo>
                      <a:pt x="0" y="288433"/>
                      <a:pt x="288433" y="0"/>
                      <a:pt x="642938" y="0"/>
                    </a:cubicBezTo>
                    <a:cubicBezTo>
                      <a:pt x="816935" y="0"/>
                      <a:pt x="980278" y="66303"/>
                      <a:pt x="1102869" y="186738"/>
                    </a:cubicBezTo>
                    <a:cubicBezTo>
                      <a:pt x="1226064" y="307780"/>
                      <a:pt x="1293914" y="469778"/>
                      <a:pt x="1293914" y="642938"/>
                    </a:cubicBezTo>
                    <a:cubicBezTo>
                      <a:pt x="1293914" y="1001866"/>
                      <a:pt x="1001895" y="1293914"/>
                      <a:pt x="642938" y="1293914"/>
                    </a:cubicBezTo>
                    <a:close/>
                    <a:moveTo>
                      <a:pt x="642938" y="48231"/>
                    </a:moveTo>
                    <a:cubicBezTo>
                      <a:pt x="315010" y="48231"/>
                      <a:pt x="48217" y="315025"/>
                      <a:pt x="48217" y="642952"/>
                    </a:cubicBezTo>
                    <a:cubicBezTo>
                      <a:pt x="48217" y="975296"/>
                      <a:pt x="315010" y="1245704"/>
                      <a:pt x="642938" y="1245704"/>
                    </a:cubicBezTo>
                    <a:cubicBezTo>
                      <a:pt x="975281" y="1245704"/>
                      <a:pt x="1245690" y="975296"/>
                      <a:pt x="1245690" y="642952"/>
                    </a:cubicBezTo>
                    <a:cubicBezTo>
                      <a:pt x="1245690" y="315025"/>
                      <a:pt x="975281" y="48231"/>
                      <a:pt x="642938" y="48231"/>
                    </a:cubicBezTo>
                    <a:close/>
                  </a:path>
                </a:pathLst>
              </a:custGeom>
              <a:grpFill/>
              <a:ln w="7348" cap="flat">
                <a:solidFill>
                  <a:srgbClr val="0414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7047028F-5EF0-2745-80CD-745215101A5E}"/>
                  </a:ext>
                </a:extLst>
              </p:cNvPr>
              <p:cNvSpPr/>
              <p:nvPr/>
            </p:nvSpPr>
            <p:spPr>
              <a:xfrm>
                <a:off x="-5248883" y="1213569"/>
                <a:ext cx="265209" cy="192903"/>
              </a:xfrm>
              <a:custGeom>
                <a:avLst/>
                <a:gdLst>
                  <a:gd name="connsiteX0" fmla="*/ 24110 w 265209"/>
                  <a:gd name="connsiteY0" fmla="*/ 192884 h 192903"/>
                  <a:gd name="connsiteX1" fmla="*/ 9271 w 265209"/>
                  <a:gd name="connsiteY1" fmla="*/ 187775 h 192903"/>
                  <a:gd name="connsiteX2" fmla="*/ 0 w 265209"/>
                  <a:gd name="connsiteY2" fmla="*/ 168774 h 192903"/>
                  <a:gd name="connsiteX3" fmla="*/ 0 w 265209"/>
                  <a:gd name="connsiteY3" fmla="*/ 24110 h 192903"/>
                  <a:gd name="connsiteX4" fmla="*/ 24110 w 265209"/>
                  <a:gd name="connsiteY4" fmla="*/ 0 h 192903"/>
                  <a:gd name="connsiteX5" fmla="*/ 241099 w 265209"/>
                  <a:gd name="connsiteY5" fmla="*/ 0 h 192903"/>
                  <a:gd name="connsiteX6" fmla="*/ 265209 w 265209"/>
                  <a:gd name="connsiteY6" fmla="*/ 24110 h 192903"/>
                  <a:gd name="connsiteX7" fmla="*/ 265209 w 265209"/>
                  <a:gd name="connsiteY7" fmla="*/ 168774 h 192903"/>
                  <a:gd name="connsiteX8" fmla="*/ 256398 w 265209"/>
                  <a:gd name="connsiteY8" fmla="*/ 187431 h 192903"/>
                  <a:gd name="connsiteX9" fmla="*/ 236392 w 265209"/>
                  <a:gd name="connsiteY9" fmla="*/ 192426 h 192903"/>
                  <a:gd name="connsiteX10" fmla="*/ 128613 w 265209"/>
                  <a:gd name="connsiteY10" fmla="*/ 184848 h 192903"/>
                  <a:gd name="connsiteX11" fmla="*/ 29990 w 265209"/>
                  <a:gd name="connsiteY11" fmla="*/ 192168 h 192903"/>
                  <a:gd name="connsiteX12" fmla="*/ 24106 w 265209"/>
                  <a:gd name="connsiteY12" fmla="*/ 192885 h 192903"/>
                  <a:gd name="connsiteX13" fmla="*/ 128589 w 265209"/>
                  <a:gd name="connsiteY13" fmla="*/ 136628 h 192903"/>
                  <a:gd name="connsiteX14" fmla="*/ 216991 w 265209"/>
                  <a:gd name="connsiteY14" fmla="*/ 140445 h 192903"/>
                  <a:gd name="connsiteX15" fmla="*/ 216991 w 265209"/>
                  <a:gd name="connsiteY15" fmla="*/ 48222 h 192903"/>
                  <a:gd name="connsiteX16" fmla="*/ 48218 w 265209"/>
                  <a:gd name="connsiteY16" fmla="*/ 48222 h 192903"/>
                  <a:gd name="connsiteX17" fmla="*/ 48218 w 265209"/>
                  <a:gd name="connsiteY17" fmla="*/ 139982 h 192903"/>
                  <a:gd name="connsiteX18" fmla="*/ 128589 w 265209"/>
                  <a:gd name="connsiteY18" fmla="*/ 136624 h 19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65209" h="192903">
                    <a:moveTo>
                      <a:pt x="24110" y="192884"/>
                    </a:moveTo>
                    <a:cubicBezTo>
                      <a:pt x="18800" y="192884"/>
                      <a:pt x="13547" y="191133"/>
                      <a:pt x="9271" y="187775"/>
                    </a:cubicBezTo>
                    <a:cubicBezTo>
                      <a:pt x="3415" y="183212"/>
                      <a:pt x="0" y="176208"/>
                      <a:pt x="0" y="168774"/>
                    </a:cubicBezTo>
                    <a:lnTo>
                      <a:pt x="0" y="24110"/>
                    </a:lnTo>
                    <a:cubicBezTo>
                      <a:pt x="0" y="10792"/>
                      <a:pt x="10793" y="0"/>
                      <a:pt x="24110" y="0"/>
                    </a:cubicBezTo>
                    <a:lnTo>
                      <a:pt x="241099" y="0"/>
                    </a:lnTo>
                    <a:cubicBezTo>
                      <a:pt x="254417" y="0"/>
                      <a:pt x="265209" y="10793"/>
                      <a:pt x="265209" y="24110"/>
                    </a:cubicBezTo>
                    <a:lnTo>
                      <a:pt x="265209" y="168774"/>
                    </a:lnTo>
                    <a:cubicBezTo>
                      <a:pt x="265209" y="176008"/>
                      <a:pt x="261966" y="182839"/>
                      <a:pt x="256398" y="187431"/>
                    </a:cubicBezTo>
                    <a:cubicBezTo>
                      <a:pt x="250801" y="192024"/>
                      <a:pt x="243482" y="193861"/>
                      <a:pt x="236392" y="192426"/>
                    </a:cubicBezTo>
                    <a:cubicBezTo>
                      <a:pt x="198562" y="184848"/>
                      <a:pt x="167677" y="184848"/>
                      <a:pt x="128613" y="184848"/>
                    </a:cubicBezTo>
                    <a:cubicBezTo>
                      <a:pt x="97701" y="184848"/>
                      <a:pt x="59239" y="184848"/>
                      <a:pt x="29990" y="192168"/>
                    </a:cubicBezTo>
                    <a:cubicBezTo>
                      <a:pt x="28038" y="192656"/>
                      <a:pt x="26058" y="192885"/>
                      <a:pt x="24106" y="192885"/>
                    </a:cubicBezTo>
                    <a:close/>
                    <a:moveTo>
                      <a:pt x="128589" y="136628"/>
                    </a:moveTo>
                    <a:cubicBezTo>
                      <a:pt x="159272" y="136628"/>
                      <a:pt x="186741" y="136628"/>
                      <a:pt x="216991" y="140445"/>
                    </a:cubicBezTo>
                    <a:lnTo>
                      <a:pt x="216991" y="48222"/>
                    </a:lnTo>
                    <a:lnTo>
                      <a:pt x="48218" y="48222"/>
                    </a:lnTo>
                    <a:lnTo>
                      <a:pt x="48218" y="139982"/>
                    </a:lnTo>
                    <a:cubicBezTo>
                      <a:pt x="75514" y="136624"/>
                      <a:pt x="104217" y="136624"/>
                      <a:pt x="128589" y="136624"/>
                    </a:cubicBezTo>
                    <a:close/>
                  </a:path>
                </a:pathLst>
              </a:custGeom>
              <a:grpFill/>
              <a:ln w="7348" cap="flat">
                <a:solidFill>
                  <a:srgbClr val="0414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C89EA1F6-F86B-D1FC-07D7-11C7F32E0B24}"/>
                  </a:ext>
                </a:extLst>
              </p:cNvPr>
              <p:cNvSpPr/>
              <p:nvPr/>
            </p:nvSpPr>
            <p:spPr>
              <a:xfrm>
                <a:off x="-5361415" y="1792234"/>
                <a:ext cx="546487" cy="225048"/>
              </a:xfrm>
              <a:custGeom>
                <a:avLst/>
                <a:gdLst>
                  <a:gd name="connsiteX0" fmla="*/ 522405 w 546487"/>
                  <a:gd name="connsiteY0" fmla="*/ 225046 h 225048"/>
                  <a:gd name="connsiteX1" fmla="*/ 241121 w 546487"/>
                  <a:gd name="connsiteY1" fmla="*/ 225046 h 225048"/>
                  <a:gd name="connsiteX2" fmla="*/ 225880 w 546487"/>
                  <a:gd name="connsiteY2" fmla="*/ 219622 h 225048"/>
                  <a:gd name="connsiteX3" fmla="*/ 8891 w 546487"/>
                  <a:gd name="connsiteY3" fmla="*/ 42817 h 225048"/>
                  <a:gd name="connsiteX4" fmla="*/ 5418 w 546487"/>
                  <a:gd name="connsiteY4" fmla="*/ 8891 h 225048"/>
                  <a:gd name="connsiteX5" fmla="*/ 39344 w 546487"/>
                  <a:gd name="connsiteY5" fmla="*/ 5418 h 225048"/>
                  <a:gd name="connsiteX6" fmla="*/ 249677 w 546487"/>
                  <a:gd name="connsiteY6" fmla="*/ 176799 h 225048"/>
                  <a:gd name="connsiteX7" fmla="*/ 522378 w 546487"/>
                  <a:gd name="connsiteY7" fmla="*/ 176799 h 225048"/>
                  <a:gd name="connsiteX8" fmla="*/ 546488 w 546487"/>
                  <a:gd name="connsiteY8" fmla="*/ 200909 h 225048"/>
                  <a:gd name="connsiteX9" fmla="*/ 522406 w 546487"/>
                  <a:gd name="connsiteY9" fmla="*/ 225048 h 225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46487" h="225048">
                    <a:moveTo>
                      <a:pt x="522405" y="225046"/>
                    </a:moveTo>
                    <a:lnTo>
                      <a:pt x="241121" y="225046"/>
                    </a:lnTo>
                    <a:cubicBezTo>
                      <a:pt x="235582" y="225046"/>
                      <a:pt x="230186" y="223123"/>
                      <a:pt x="225880" y="219622"/>
                    </a:cubicBezTo>
                    <a:lnTo>
                      <a:pt x="8891" y="42817"/>
                    </a:lnTo>
                    <a:cubicBezTo>
                      <a:pt x="-1442" y="34408"/>
                      <a:pt x="-2992" y="19224"/>
                      <a:pt x="5418" y="8891"/>
                    </a:cubicBezTo>
                    <a:cubicBezTo>
                      <a:pt x="13827" y="-1442"/>
                      <a:pt x="29011" y="-2992"/>
                      <a:pt x="39344" y="5418"/>
                    </a:cubicBezTo>
                    <a:lnTo>
                      <a:pt x="249677" y="176799"/>
                    </a:lnTo>
                    <a:lnTo>
                      <a:pt x="522378" y="176799"/>
                    </a:lnTo>
                    <a:cubicBezTo>
                      <a:pt x="535696" y="176799"/>
                      <a:pt x="546488" y="187592"/>
                      <a:pt x="546488" y="200909"/>
                    </a:cubicBezTo>
                    <a:cubicBezTo>
                      <a:pt x="546516" y="214256"/>
                      <a:pt x="535724" y="225048"/>
                      <a:pt x="522406" y="225048"/>
                    </a:cubicBezTo>
                    <a:close/>
                  </a:path>
                </a:pathLst>
              </a:custGeom>
              <a:grpFill/>
              <a:ln w="7348" cap="flat">
                <a:solidFill>
                  <a:srgbClr val="0414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031C3790-8296-CAED-CF2A-ADF651A91F27}"/>
                  </a:ext>
                </a:extLst>
              </p:cNvPr>
              <p:cNvSpPr/>
              <p:nvPr/>
            </p:nvSpPr>
            <p:spPr>
              <a:xfrm>
                <a:off x="-5313184" y="1101117"/>
                <a:ext cx="393796" cy="160729"/>
              </a:xfrm>
              <a:custGeom>
                <a:avLst/>
                <a:gdLst>
                  <a:gd name="connsiteX0" fmla="*/ 369687 w 393796"/>
                  <a:gd name="connsiteY0" fmla="*/ 160730 h 160729"/>
                  <a:gd name="connsiteX1" fmla="*/ 24110 w 393796"/>
                  <a:gd name="connsiteY1" fmla="*/ 160730 h 160729"/>
                  <a:gd name="connsiteX2" fmla="*/ 0 w 393796"/>
                  <a:gd name="connsiteY2" fmla="*/ 136620 h 160729"/>
                  <a:gd name="connsiteX3" fmla="*/ 0 w 393796"/>
                  <a:gd name="connsiteY3" fmla="*/ 24110 h 160729"/>
                  <a:gd name="connsiteX4" fmla="*/ 24110 w 393796"/>
                  <a:gd name="connsiteY4" fmla="*/ 0 h 160729"/>
                  <a:gd name="connsiteX5" fmla="*/ 369687 w 393796"/>
                  <a:gd name="connsiteY5" fmla="*/ 0 h 160729"/>
                  <a:gd name="connsiteX6" fmla="*/ 393797 w 393796"/>
                  <a:gd name="connsiteY6" fmla="*/ 24110 h 160729"/>
                  <a:gd name="connsiteX7" fmla="*/ 393797 w 393796"/>
                  <a:gd name="connsiteY7" fmla="*/ 136620 h 160729"/>
                  <a:gd name="connsiteX8" fmla="*/ 369687 w 393796"/>
                  <a:gd name="connsiteY8" fmla="*/ 160730 h 160729"/>
                  <a:gd name="connsiteX9" fmla="*/ 48218 w 393796"/>
                  <a:gd name="connsiteY9" fmla="*/ 112510 h 160729"/>
                  <a:gd name="connsiteX10" fmla="*/ 345579 w 393796"/>
                  <a:gd name="connsiteY10" fmla="*/ 112510 h 160729"/>
                  <a:gd name="connsiteX11" fmla="*/ 345579 w 393796"/>
                  <a:gd name="connsiteY11" fmla="*/ 48216 h 160729"/>
                  <a:gd name="connsiteX12" fmla="*/ 48218 w 393796"/>
                  <a:gd name="connsiteY12" fmla="*/ 48216 h 160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93796" h="160729">
                    <a:moveTo>
                      <a:pt x="369687" y="160730"/>
                    </a:moveTo>
                    <a:lnTo>
                      <a:pt x="24110" y="160730"/>
                    </a:lnTo>
                    <a:cubicBezTo>
                      <a:pt x="10792" y="160730"/>
                      <a:pt x="0" y="149937"/>
                      <a:pt x="0" y="136620"/>
                    </a:cubicBezTo>
                    <a:lnTo>
                      <a:pt x="0" y="24110"/>
                    </a:lnTo>
                    <a:cubicBezTo>
                      <a:pt x="0" y="10792"/>
                      <a:pt x="10793" y="0"/>
                      <a:pt x="24110" y="0"/>
                    </a:cubicBezTo>
                    <a:lnTo>
                      <a:pt x="369687" y="0"/>
                    </a:lnTo>
                    <a:cubicBezTo>
                      <a:pt x="383005" y="0"/>
                      <a:pt x="393797" y="10793"/>
                      <a:pt x="393797" y="24110"/>
                    </a:cubicBezTo>
                    <a:lnTo>
                      <a:pt x="393797" y="136620"/>
                    </a:lnTo>
                    <a:cubicBezTo>
                      <a:pt x="393797" y="149938"/>
                      <a:pt x="383004" y="160730"/>
                      <a:pt x="369687" y="160730"/>
                    </a:cubicBezTo>
                    <a:close/>
                    <a:moveTo>
                      <a:pt x="48218" y="112510"/>
                    </a:moveTo>
                    <a:lnTo>
                      <a:pt x="345579" y="112510"/>
                    </a:lnTo>
                    <a:lnTo>
                      <a:pt x="345579" y="48216"/>
                    </a:lnTo>
                    <a:lnTo>
                      <a:pt x="48218" y="48216"/>
                    </a:lnTo>
                    <a:close/>
                  </a:path>
                </a:pathLst>
              </a:custGeom>
              <a:grpFill/>
              <a:ln w="7348" cap="flat">
                <a:solidFill>
                  <a:srgbClr val="0414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35EF6EB2-D236-511D-31A3-55710552AC50}"/>
                  </a:ext>
                </a:extLst>
              </p:cNvPr>
              <p:cNvSpPr/>
              <p:nvPr/>
            </p:nvSpPr>
            <p:spPr>
              <a:xfrm>
                <a:off x="-5176543" y="1446701"/>
                <a:ext cx="120550" cy="112513"/>
              </a:xfrm>
              <a:custGeom>
                <a:avLst/>
                <a:gdLst>
                  <a:gd name="connsiteX0" fmla="*/ 56257 w 120550"/>
                  <a:gd name="connsiteY0" fmla="*/ 112513 h 112513"/>
                  <a:gd name="connsiteX1" fmla="*/ 0 w 120550"/>
                  <a:gd name="connsiteY1" fmla="*/ 56257 h 112513"/>
                  <a:gd name="connsiteX2" fmla="*/ 56257 w 120550"/>
                  <a:gd name="connsiteY2" fmla="*/ 0 h 112513"/>
                  <a:gd name="connsiteX3" fmla="*/ 120550 w 120550"/>
                  <a:gd name="connsiteY3" fmla="*/ 56257 h 112513"/>
                  <a:gd name="connsiteX4" fmla="*/ 56257 w 120550"/>
                  <a:gd name="connsiteY4" fmla="*/ 112513 h 112513"/>
                  <a:gd name="connsiteX5" fmla="*/ 56257 w 120550"/>
                  <a:gd name="connsiteY5" fmla="*/ 48220 h 112513"/>
                  <a:gd name="connsiteX6" fmla="*/ 48220 w 120550"/>
                  <a:gd name="connsiteY6" fmla="*/ 56257 h 112513"/>
                  <a:gd name="connsiteX7" fmla="*/ 56257 w 120550"/>
                  <a:gd name="connsiteY7" fmla="*/ 64294 h 112513"/>
                  <a:gd name="connsiteX8" fmla="*/ 72330 w 120550"/>
                  <a:gd name="connsiteY8" fmla="*/ 56257 h 112513"/>
                  <a:gd name="connsiteX9" fmla="*/ 56257 w 120550"/>
                  <a:gd name="connsiteY9" fmla="*/ 48220 h 112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550" h="112513">
                    <a:moveTo>
                      <a:pt x="56257" y="112513"/>
                    </a:moveTo>
                    <a:cubicBezTo>
                      <a:pt x="26808" y="112513"/>
                      <a:pt x="0" y="85705"/>
                      <a:pt x="0" y="56257"/>
                    </a:cubicBezTo>
                    <a:cubicBezTo>
                      <a:pt x="0" y="26808"/>
                      <a:pt x="26808" y="0"/>
                      <a:pt x="56257" y="0"/>
                    </a:cubicBezTo>
                    <a:cubicBezTo>
                      <a:pt x="91704" y="0"/>
                      <a:pt x="120550" y="25230"/>
                      <a:pt x="120550" y="56257"/>
                    </a:cubicBezTo>
                    <a:cubicBezTo>
                      <a:pt x="120550" y="87256"/>
                      <a:pt x="91704" y="112513"/>
                      <a:pt x="56257" y="112513"/>
                    </a:cubicBezTo>
                    <a:close/>
                    <a:moveTo>
                      <a:pt x="56257" y="48220"/>
                    </a:moveTo>
                    <a:cubicBezTo>
                      <a:pt x="53472" y="48220"/>
                      <a:pt x="48220" y="53472"/>
                      <a:pt x="48220" y="56257"/>
                    </a:cubicBezTo>
                    <a:cubicBezTo>
                      <a:pt x="48220" y="59041"/>
                      <a:pt x="53472" y="64294"/>
                      <a:pt x="56257" y="64294"/>
                    </a:cubicBezTo>
                    <a:cubicBezTo>
                      <a:pt x="67479" y="64294"/>
                      <a:pt x="72330" y="58180"/>
                      <a:pt x="72330" y="56257"/>
                    </a:cubicBezTo>
                    <a:cubicBezTo>
                      <a:pt x="72330" y="54305"/>
                      <a:pt x="67508" y="48220"/>
                      <a:pt x="56257" y="48220"/>
                    </a:cubicBezTo>
                    <a:close/>
                  </a:path>
                </a:pathLst>
              </a:custGeom>
              <a:grpFill/>
              <a:ln w="7348" cap="flat">
                <a:solidFill>
                  <a:srgbClr val="0414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567CBD01-5FF1-C458-F1ED-4D85360A840B}"/>
                  </a:ext>
                </a:extLst>
              </p:cNvPr>
              <p:cNvSpPr/>
              <p:nvPr/>
            </p:nvSpPr>
            <p:spPr>
              <a:xfrm>
                <a:off x="-4686322" y="1936922"/>
                <a:ext cx="120550" cy="120550"/>
              </a:xfrm>
              <a:custGeom>
                <a:avLst/>
                <a:gdLst>
                  <a:gd name="connsiteX0" fmla="*/ 64294 w 120550"/>
                  <a:gd name="connsiteY0" fmla="*/ 120551 h 120550"/>
                  <a:gd name="connsiteX1" fmla="*/ 0 w 120550"/>
                  <a:gd name="connsiteY1" fmla="*/ 56257 h 120550"/>
                  <a:gd name="connsiteX2" fmla="*/ 64294 w 120550"/>
                  <a:gd name="connsiteY2" fmla="*/ 0 h 120550"/>
                  <a:gd name="connsiteX3" fmla="*/ 120550 w 120550"/>
                  <a:gd name="connsiteY3" fmla="*/ 56257 h 120550"/>
                  <a:gd name="connsiteX4" fmla="*/ 64294 w 120550"/>
                  <a:gd name="connsiteY4" fmla="*/ 120551 h 120550"/>
                  <a:gd name="connsiteX5" fmla="*/ 64294 w 120550"/>
                  <a:gd name="connsiteY5" fmla="*/ 48220 h 120550"/>
                  <a:gd name="connsiteX6" fmla="*/ 48220 w 120550"/>
                  <a:gd name="connsiteY6" fmla="*/ 56257 h 120550"/>
                  <a:gd name="connsiteX7" fmla="*/ 64294 w 120550"/>
                  <a:gd name="connsiteY7" fmla="*/ 72330 h 120550"/>
                  <a:gd name="connsiteX8" fmla="*/ 72331 w 120550"/>
                  <a:gd name="connsiteY8" fmla="*/ 56257 h 120550"/>
                  <a:gd name="connsiteX9" fmla="*/ 64294 w 120550"/>
                  <a:gd name="connsiteY9" fmla="*/ 48220 h 120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550" h="120550">
                    <a:moveTo>
                      <a:pt x="64294" y="120551"/>
                    </a:moveTo>
                    <a:cubicBezTo>
                      <a:pt x="27038" y="120551"/>
                      <a:pt x="0" y="93513"/>
                      <a:pt x="0" y="56257"/>
                    </a:cubicBezTo>
                    <a:cubicBezTo>
                      <a:pt x="0" y="25229"/>
                      <a:pt x="28846" y="0"/>
                      <a:pt x="64294" y="0"/>
                    </a:cubicBezTo>
                    <a:cubicBezTo>
                      <a:pt x="93742" y="0"/>
                      <a:pt x="120550" y="26808"/>
                      <a:pt x="120550" y="56257"/>
                    </a:cubicBezTo>
                    <a:cubicBezTo>
                      <a:pt x="120550" y="91704"/>
                      <a:pt x="95321" y="120551"/>
                      <a:pt x="64294" y="120551"/>
                    </a:cubicBezTo>
                    <a:close/>
                    <a:moveTo>
                      <a:pt x="64294" y="48220"/>
                    </a:moveTo>
                    <a:cubicBezTo>
                      <a:pt x="53071" y="48220"/>
                      <a:pt x="48220" y="54333"/>
                      <a:pt x="48220" y="56257"/>
                    </a:cubicBezTo>
                    <a:cubicBezTo>
                      <a:pt x="48220" y="67078"/>
                      <a:pt x="53473" y="72330"/>
                      <a:pt x="64294" y="72330"/>
                    </a:cubicBezTo>
                    <a:cubicBezTo>
                      <a:pt x="66217" y="72330"/>
                      <a:pt x="72331" y="67480"/>
                      <a:pt x="72331" y="56257"/>
                    </a:cubicBezTo>
                    <a:cubicBezTo>
                      <a:pt x="72331" y="53473"/>
                      <a:pt x="67078" y="48220"/>
                      <a:pt x="64294" y="48220"/>
                    </a:cubicBezTo>
                    <a:close/>
                  </a:path>
                </a:pathLst>
              </a:custGeom>
              <a:grpFill/>
              <a:ln w="7348" cap="flat">
                <a:solidFill>
                  <a:srgbClr val="0414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9D99E2E7-B172-23FA-4C44-C3F73C4CA3EB}"/>
                  </a:ext>
                </a:extLst>
              </p:cNvPr>
              <p:cNvSpPr/>
              <p:nvPr/>
            </p:nvSpPr>
            <p:spPr>
              <a:xfrm>
                <a:off x="-5176543" y="2427172"/>
                <a:ext cx="120550" cy="120550"/>
              </a:xfrm>
              <a:custGeom>
                <a:avLst/>
                <a:gdLst>
                  <a:gd name="connsiteX0" fmla="*/ 56257 w 120550"/>
                  <a:gd name="connsiteY0" fmla="*/ 120551 h 120550"/>
                  <a:gd name="connsiteX1" fmla="*/ 0 w 120550"/>
                  <a:gd name="connsiteY1" fmla="*/ 56257 h 120550"/>
                  <a:gd name="connsiteX2" fmla="*/ 56257 w 120550"/>
                  <a:gd name="connsiteY2" fmla="*/ 0 h 120550"/>
                  <a:gd name="connsiteX3" fmla="*/ 120550 w 120550"/>
                  <a:gd name="connsiteY3" fmla="*/ 56257 h 120550"/>
                  <a:gd name="connsiteX4" fmla="*/ 56257 w 120550"/>
                  <a:gd name="connsiteY4" fmla="*/ 120551 h 120550"/>
                  <a:gd name="connsiteX5" fmla="*/ 56257 w 120550"/>
                  <a:gd name="connsiteY5" fmla="*/ 48220 h 120550"/>
                  <a:gd name="connsiteX6" fmla="*/ 48220 w 120550"/>
                  <a:gd name="connsiteY6" fmla="*/ 56257 h 120550"/>
                  <a:gd name="connsiteX7" fmla="*/ 56257 w 120550"/>
                  <a:gd name="connsiteY7" fmla="*/ 72330 h 120550"/>
                  <a:gd name="connsiteX8" fmla="*/ 72330 w 120550"/>
                  <a:gd name="connsiteY8" fmla="*/ 56257 h 120550"/>
                  <a:gd name="connsiteX9" fmla="*/ 56257 w 120550"/>
                  <a:gd name="connsiteY9" fmla="*/ 48220 h 120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550" h="120550">
                    <a:moveTo>
                      <a:pt x="56257" y="120551"/>
                    </a:moveTo>
                    <a:cubicBezTo>
                      <a:pt x="25229" y="120551"/>
                      <a:pt x="0" y="91704"/>
                      <a:pt x="0" y="56257"/>
                    </a:cubicBezTo>
                    <a:cubicBezTo>
                      <a:pt x="0" y="26808"/>
                      <a:pt x="26808" y="0"/>
                      <a:pt x="56257" y="0"/>
                    </a:cubicBezTo>
                    <a:cubicBezTo>
                      <a:pt x="91704" y="0"/>
                      <a:pt x="120550" y="25230"/>
                      <a:pt x="120550" y="56257"/>
                    </a:cubicBezTo>
                    <a:cubicBezTo>
                      <a:pt x="120550" y="93513"/>
                      <a:pt x="93513" y="120551"/>
                      <a:pt x="56257" y="120551"/>
                    </a:cubicBezTo>
                    <a:close/>
                    <a:moveTo>
                      <a:pt x="56257" y="48220"/>
                    </a:moveTo>
                    <a:cubicBezTo>
                      <a:pt x="53472" y="48220"/>
                      <a:pt x="48220" y="53472"/>
                      <a:pt x="48220" y="56257"/>
                    </a:cubicBezTo>
                    <a:cubicBezTo>
                      <a:pt x="48220" y="67479"/>
                      <a:pt x="54333" y="72330"/>
                      <a:pt x="56257" y="72330"/>
                    </a:cubicBezTo>
                    <a:cubicBezTo>
                      <a:pt x="67078" y="72330"/>
                      <a:pt x="72330" y="67078"/>
                      <a:pt x="72330" y="56257"/>
                    </a:cubicBezTo>
                    <a:cubicBezTo>
                      <a:pt x="72330" y="54305"/>
                      <a:pt x="67508" y="48220"/>
                      <a:pt x="56257" y="48220"/>
                    </a:cubicBezTo>
                    <a:close/>
                  </a:path>
                </a:pathLst>
              </a:custGeom>
              <a:grpFill/>
              <a:ln w="7348" cap="flat">
                <a:solidFill>
                  <a:srgbClr val="0414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DAC51478-57F3-C913-1D20-4F9B01FE713B}"/>
                  </a:ext>
                </a:extLst>
              </p:cNvPr>
              <p:cNvSpPr/>
              <p:nvPr/>
            </p:nvSpPr>
            <p:spPr>
              <a:xfrm>
                <a:off x="-5666792" y="1936922"/>
                <a:ext cx="120550" cy="120550"/>
              </a:xfrm>
              <a:custGeom>
                <a:avLst/>
                <a:gdLst>
                  <a:gd name="connsiteX0" fmla="*/ 56257 w 120550"/>
                  <a:gd name="connsiteY0" fmla="*/ 120551 h 120550"/>
                  <a:gd name="connsiteX1" fmla="*/ 0 w 120550"/>
                  <a:gd name="connsiteY1" fmla="*/ 56257 h 120550"/>
                  <a:gd name="connsiteX2" fmla="*/ 56257 w 120550"/>
                  <a:gd name="connsiteY2" fmla="*/ 0 h 120550"/>
                  <a:gd name="connsiteX3" fmla="*/ 120550 w 120550"/>
                  <a:gd name="connsiteY3" fmla="*/ 56257 h 120550"/>
                  <a:gd name="connsiteX4" fmla="*/ 56257 w 120550"/>
                  <a:gd name="connsiteY4" fmla="*/ 120551 h 120550"/>
                  <a:gd name="connsiteX5" fmla="*/ 56257 w 120550"/>
                  <a:gd name="connsiteY5" fmla="*/ 48220 h 120550"/>
                  <a:gd name="connsiteX6" fmla="*/ 48220 w 120550"/>
                  <a:gd name="connsiteY6" fmla="*/ 56257 h 120550"/>
                  <a:gd name="connsiteX7" fmla="*/ 56257 w 120550"/>
                  <a:gd name="connsiteY7" fmla="*/ 72330 h 120550"/>
                  <a:gd name="connsiteX8" fmla="*/ 72330 w 120550"/>
                  <a:gd name="connsiteY8" fmla="*/ 56257 h 120550"/>
                  <a:gd name="connsiteX9" fmla="*/ 56257 w 120550"/>
                  <a:gd name="connsiteY9" fmla="*/ 48220 h 120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550" h="120550">
                    <a:moveTo>
                      <a:pt x="56257" y="120551"/>
                    </a:moveTo>
                    <a:cubicBezTo>
                      <a:pt x="25229" y="120551"/>
                      <a:pt x="0" y="91704"/>
                      <a:pt x="0" y="56257"/>
                    </a:cubicBezTo>
                    <a:cubicBezTo>
                      <a:pt x="0" y="26808"/>
                      <a:pt x="26808" y="0"/>
                      <a:pt x="56257" y="0"/>
                    </a:cubicBezTo>
                    <a:cubicBezTo>
                      <a:pt x="91704" y="0"/>
                      <a:pt x="120550" y="25230"/>
                      <a:pt x="120550" y="56257"/>
                    </a:cubicBezTo>
                    <a:cubicBezTo>
                      <a:pt x="120550" y="93513"/>
                      <a:pt x="93513" y="120551"/>
                      <a:pt x="56257" y="120551"/>
                    </a:cubicBezTo>
                    <a:close/>
                    <a:moveTo>
                      <a:pt x="56257" y="48220"/>
                    </a:moveTo>
                    <a:cubicBezTo>
                      <a:pt x="53472" y="48220"/>
                      <a:pt x="48220" y="53472"/>
                      <a:pt x="48220" y="56257"/>
                    </a:cubicBezTo>
                    <a:cubicBezTo>
                      <a:pt x="48220" y="67479"/>
                      <a:pt x="54333" y="72330"/>
                      <a:pt x="56257" y="72330"/>
                    </a:cubicBezTo>
                    <a:cubicBezTo>
                      <a:pt x="67078" y="72330"/>
                      <a:pt x="72330" y="67078"/>
                      <a:pt x="72330" y="56257"/>
                    </a:cubicBezTo>
                    <a:cubicBezTo>
                      <a:pt x="72330" y="54305"/>
                      <a:pt x="67508" y="48220"/>
                      <a:pt x="56257" y="48220"/>
                    </a:cubicBezTo>
                    <a:close/>
                  </a:path>
                </a:pathLst>
              </a:custGeom>
              <a:grpFill/>
              <a:ln w="7348" cap="flat">
                <a:solidFill>
                  <a:srgbClr val="0414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F0E6F4B1-EAB7-9487-C738-89226D4977BD}"/>
              </a:ext>
            </a:extLst>
          </p:cNvPr>
          <p:cNvGrpSpPr/>
          <p:nvPr/>
        </p:nvGrpSpPr>
        <p:grpSpPr>
          <a:xfrm>
            <a:off x="4671932" y="861535"/>
            <a:ext cx="1988413" cy="2905323"/>
            <a:chOff x="3259116" y="1693778"/>
            <a:chExt cx="1988413" cy="2905323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06AD9579-1A6E-2293-D9FE-064FC37F06B0}"/>
                </a:ext>
              </a:extLst>
            </p:cNvPr>
            <p:cNvSpPr txBox="1"/>
            <p:nvPr/>
          </p:nvSpPr>
          <p:spPr>
            <a:xfrm>
              <a:off x="3259116" y="3121773"/>
              <a:ext cx="1988413" cy="147732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4143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Pivotal human trials held in </a:t>
              </a: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4143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severe TBI</a:t>
              </a: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4143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-- </a:t>
              </a:r>
              <a:r>
                <a:rPr kumimoji="0" lang="en-US" sz="16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4143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ProTECT</a:t>
              </a: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4143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 and SYNAPSE</a:t>
              </a:r>
              <a:r>
                <a:rPr kumimoji="0" lang="en-US" sz="1600" b="0" i="0" u="none" strike="noStrike" kern="0" cap="none" spc="0" normalizeH="0" baseline="30000" noProof="0" dirty="0">
                  <a:ln>
                    <a:noFill/>
                  </a:ln>
                  <a:solidFill>
                    <a:srgbClr val="04143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1</a:t>
              </a: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4143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 – did not succeed for many addressable reasons</a:t>
              </a:r>
              <a:r>
                <a:rPr kumimoji="0" lang="en-US" sz="1600" b="0" i="0" u="none" strike="noStrike" kern="0" cap="none" spc="0" normalizeH="0" baseline="30000" noProof="0" dirty="0">
                  <a:ln>
                    <a:noFill/>
                  </a:ln>
                  <a:solidFill>
                    <a:srgbClr val="04143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2</a:t>
              </a: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698F783-7436-735E-E380-9EBEA3A2DB06}"/>
                </a:ext>
              </a:extLst>
            </p:cNvPr>
            <p:cNvSpPr/>
            <p:nvPr/>
          </p:nvSpPr>
          <p:spPr>
            <a:xfrm>
              <a:off x="3728724" y="1794332"/>
              <a:ext cx="1048401" cy="1048401"/>
            </a:xfrm>
            <a:custGeom>
              <a:avLst/>
              <a:gdLst>
                <a:gd name="connsiteX0" fmla="*/ 1871076 w 2090660"/>
                <a:gd name="connsiteY0" fmla="*/ 2090660 h 2090659"/>
                <a:gd name="connsiteX1" fmla="*/ 219584 w 2090660"/>
                <a:gd name="connsiteY1" fmla="*/ 2090660 h 2090659"/>
                <a:gd name="connsiteX2" fmla="*/ 0 w 2090660"/>
                <a:gd name="connsiteY2" fmla="*/ 1871075 h 2090659"/>
                <a:gd name="connsiteX3" fmla="*/ 0 w 2090660"/>
                <a:gd name="connsiteY3" fmla="*/ 219584 h 2090659"/>
                <a:gd name="connsiteX4" fmla="*/ 219584 w 2090660"/>
                <a:gd name="connsiteY4" fmla="*/ 0 h 2090659"/>
                <a:gd name="connsiteX5" fmla="*/ 1871076 w 2090660"/>
                <a:gd name="connsiteY5" fmla="*/ 0 h 2090659"/>
                <a:gd name="connsiteX6" fmla="*/ 2090660 w 2090660"/>
                <a:gd name="connsiteY6" fmla="*/ 219584 h 2090659"/>
                <a:gd name="connsiteX7" fmla="*/ 2090660 w 2090660"/>
                <a:gd name="connsiteY7" fmla="*/ 1871075 h 2090659"/>
                <a:gd name="connsiteX8" fmla="*/ 1871076 w 2090660"/>
                <a:gd name="connsiteY8" fmla="*/ 2090660 h 2090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0660" h="2090659">
                  <a:moveTo>
                    <a:pt x="1871076" y="2090660"/>
                  </a:moveTo>
                  <a:lnTo>
                    <a:pt x="219584" y="2090660"/>
                  </a:lnTo>
                  <a:cubicBezTo>
                    <a:pt x="98193" y="2090660"/>
                    <a:pt x="0" y="1992149"/>
                    <a:pt x="0" y="1871075"/>
                  </a:cubicBezTo>
                  <a:lnTo>
                    <a:pt x="0" y="219584"/>
                  </a:lnTo>
                  <a:cubicBezTo>
                    <a:pt x="0" y="98193"/>
                    <a:pt x="98511" y="0"/>
                    <a:pt x="219584" y="0"/>
                  </a:cubicBezTo>
                  <a:lnTo>
                    <a:pt x="1871076" y="0"/>
                  </a:lnTo>
                  <a:cubicBezTo>
                    <a:pt x="1992467" y="0"/>
                    <a:pt x="2090660" y="98511"/>
                    <a:pt x="2090660" y="219584"/>
                  </a:cubicBezTo>
                  <a:lnTo>
                    <a:pt x="2090660" y="1871075"/>
                  </a:lnTo>
                  <a:cubicBezTo>
                    <a:pt x="2090978" y="1992466"/>
                    <a:pt x="1992467" y="2090660"/>
                    <a:pt x="1871076" y="2090660"/>
                  </a:cubicBezTo>
                  <a:close/>
                </a:path>
              </a:pathLst>
            </a:custGeom>
            <a:solidFill>
              <a:schemeClr val="bg1"/>
            </a:solidFill>
            <a:ln w="3178" cap="flat">
              <a:noFill/>
              <a:prstDash val="solid"/>
              <a:miter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02D6FD1-A502-9AAA-7A7A-9A45D128F632}"/>
                </a:ext>
              </a:extLst>
            </p:cNvPr>
            <p:cNvSpPr/>
            <p:nvPr/>
          </p:nvSpPr>
          <p:spPr>
            <a:xfrm>
              <a:off x="3628170" y="1693778"/>
              <a:ext cx="1249508" cy="1249508"/>
            </a:xfrm>
            <a:custGeom>
              <a:avLst/>
              <a:gdLst>
                <a:gd name="connsiteX0" fmla="*/ 1246007 w 2491695"/>
                <a:gd name="connsiteY0" fmla="*/ 2491695 h 2491694"/>
                <a:gd name="connsiteX1" fmla="*/ 255176 w 2491695"/>
                <a:gd name="connsiteY1" fmla="*/ 2491695 h 2491694"/>
                <a:gd name="connsiteX2" fmla="*/ 0 w 2491695"/>
                <a:gd name="connsiteY2" fmla="*/ 2236520 h 2491694"/>
                <a:gd name="connsiteX3" fmla="*/ 0 w 2491695"/>
                <a:gd name="connsiteY3" fmla="*/ 255176 h 2491694"/>
                <a:gd name="connsiteX4" fmla="*/ 255176 w 2491695"/>
                <a:gd name="connsiteY4" fmla="*/ 0 h 2491694"/>
                <a:gd name="connsiteX5" fmla="*/ 2236520 w 2491695"/>
                <a:gd name="connsiteY5" fmla="*/ 0 h 2491694"/>
                <a:gd name="connsiteX6" fmla="*/ 2491696 w 2491695"/>
                <a:gd name="connsiteY6" fmla="*/ 255176 h 2491694"/>
                <a:gd name="connsiteX7" fmla="*/ 2491696 w 2491695"/>
                <a:gd name="connsiteY7" fmla="*/ 1246006 h 2491694"/>
                <a:gd name="connsiteX8" fmla="*/ 2471358 w 2491695"/>
                <a:gd name="connsiteY8" fmla="*/ 1266344 h 2491694"/>
                <a:gd name="connsiteX9" fmla="*/ 2451020 w 2491695"/>
                <a:gd name="connsiteY9" fmla="*/ 1246006 h 2491694"/>
                <a:gd name="connsiteX10" fmla="*/ 2451020 w 2491695"/>
                <a:gd name="connsiteY10" fmla="*/ 255176 h 2491694"/>
                <a:gd name="connsiteX11" fmla="*/ 2236838 w 2491695"/>
                <a:gd name="connsiteY11" fmla="*/ 40993 h 2491694"/>
                <a:gd name="connsiteX12" fmla="*/ 255494 w 2491695"/>
                <a:gd name="connsiteY12" fmla="*/ 40993 h 2491694"/>
                <a:gd name="connsiteX13" fmla="*/ 41311 w 2491695"/>
                <a:gd name="connsiteY13" fmla="*/ 255176 h 2491694"/>
                <a:gd name="connsiteX14" fmla="*/ 41311 w 2491695"/>
                <a:gd name="connsiteY14" fmla="*/ 2236520 h 2491694"/>
                <a:gd name="connsiteX15" fmla="*/ 255494 w 2491695"/>
                <a:gd name="connsiteY15" fmla="*/ 2450702 h 2491694"/>
                <a:gd name="connsiteX16" fmla="*/ 1246324 w 2491695"/>
                <a:gd name="connsiteY16" fmla="*/ 2450702 h 2491694"/>
                <a:gd name="connsiteX17" fmla="*/ 1266663 w 2491695"/>
                <a:gd name="connsiteY17" fmla="*/ 2471039 h 2491694"/>
                <a:gd name="connsiteX18" fmla="*/ 1246007 w 2491695"/>
                <a:gd name="connsiteY18" fmla="*/ 2491695 h 2491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491695" h="2491694">
                  <a:moveTo>
                    <a:pt x="1246007" y="2491695"/>
                  </a:moveTo>
                  <a:lnTo>
                    <a:pt x="255176" y="2491695"/>
                  </a:lnTo>
                  <a:cubicBezTo>
                    <a:pt x="114718" y="2491695"/>
                    <a:pt x="0" y="2377295"/>
                    <a:pt x="0" y="2236520"/>
                  </a:cubicBezTo>
                  <a:lnTo>
                    <a:pt x="0" y="255176"/>
                  </a:lnTo>
                  <a:cubicBezTo>
                    <a:pt x="0" y="114400"/>
                    <a:pt x="114400" y="0"/>
                    <a:pt x="255176" y="0"/>
                  </a:cubicBezTo>
                  <a:lnTo>
                    <a:pt x="2236520" y="0"/>
                  </a:lnTo>
                  <a:cubicBezTo>
                    <a:pt x="2376978" y="0"/>
                    <a:pt x="2491696" y="114400"/>
                    <a:pt x="2491696" y="255176"/>
                  </a:cubicBezTo>
                  <a:lnTo>
                    <a:pt x="2491696" y="1246006"/>
                  </a:lnTo>
                  <a:cubicBezTo>
                    <a:pt x="2491696" y="1257129"/>
                    <a:pt x="2482480" y="1266344"/>
                    <a:pt x="2471358" y="1266344"/>
                  </a:cubicBezTo>
                  <a:cubicBezTo>
                    <a:pt x="2460236" y="1266344"/>
                    <a:pt x="2451020" y="1257129"/>
                    <a:pt x="2451020" y="1246006"/>
                  </a:cubicBezTo>
                  <a:lnTo>
                    <a:pt x="2451020" y="255176"/>
                  </a:lnTo>
                  <a:cubicBezTo>
                    <a:pt x="2451020" y="136962"/>
                    <a:pt x="2355052" y="40993"/>
                    <a:pt x="2236838" y="40993"/>
                  </a:cubicBezTo>
                  <a:lnTo>
                    <a:pt x="255494" y="40993"/>
                  </a:lnTo>
                  <a:cubicBezTo>
                    <a:pt x="137280" y="40993"/>
                    <a:pt x="41311" y="136962"/>
                    <a:pt x="41311" y="255176"/>
                  </a:cubicBezTo>
                  <a:lnTo>
                    <a:pt x="41311" y="2236520"/>
                  </a:lnTo>
                  <a:cubicBezTo>
                    <a:pt x="41311" y="2354733"/>
                    <a:pt x="137280" y="2450702"/>
                    <a:pt x="255494" y="2450702"/>
                  </a:cubicBezTo>
                  <a:lnTo>
                    <a:pt x="1246324" y="2450702"/>
                  </a:lnTo>
                  <a:cubicBezTo>
                    <a:pt x="1257447" y="2450702"/>
                    <a:pt x="1266663" y="2459917"/>
                    <a:pt x="1266663" y="2471039"/>
                  </a:cubicBezTo>
                  <a:cubicBezTo>
                    <a:pt x="1266345" y="2482480"/>
                    <a:pt x="1257129" y="2491695"/>
                    <a:pt x="1246007" y="2491695"/>
                  </a:cubicBezTo>
                  <a:close/>
                </a:path>
              </a:pathLst>
            </a:custGeom>
            <a:solidFill>
              <a:srgbClr val="4285F4"/>
            </a:solidFill>
            <a:ln w="317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73F8E7BC-6270-5C04-EA8B-6F12CCC8F7DE}"/>
                </a:ext>
              </a:extLst>
            </p:cNvPr>
            <p:cNvSpPr/>
            <p:nvPr/>
          </p:nvSpPr>
          <p:spPr>
            <a:xfrm>
              <a:off x="4288541" y="2307616"/>
              <a:ext cx="589934" cy="636467"/>
            </a:xfrm>
            <a:custGeom>
              <a:avLst/>
              <a:gdLst>
                <a:gd name="connsiteX0" fmla="*/ 785547 w 1176413"/>
                <a:gd name="connsiteY0" fmla="*/ 1269204 h 1269204"/>
                <a:gd name="connsiteX1" fmla="*/ 768704 w 1176413"/>
                <a:gd name="connsiteY1" fmla="*/ 1269204 h 1269204"/>
                <a:gd name="connsiteX2" fmla="*/ 746778 w 1176413"/>
                <a:gd name="connsiteY2" fmla="*/ 1247278 h 1269204"/>
                <a:gd name="connsiteX3" fmla="*/ 768704 w 1176413"/>
                <a:gd name="connsiteY3" fmla="*/ 1225351 h 1269204"/>
                <a:gd name="connsiteX4" fmla="*/ 785547 w 1176413"/>
                <a:gd name="connsiteY4" fmla="*/ 1225351 h 1269204"/>
                <a:gd name="connsiteX5" fmla="*/ 807473 w 1176413"/>
                <a:gd name="connsiteY5" fmla="*/ 1247278 h 1269204"/>
                <a:gd name="connsiteX6" fmla="*/ 785547 w 1176413"/>
                <a:gd name="connsiteY6" fmla="*/ 1269204 h 1269204"/>
                <a:gd name="connsiteX7" fmla="*/ 599011 w 1176413"/>
                <a:gd name="connsiteY7" fmla="*/ 1269204 h 1269204"/>
                <a:gd name="connsiteX8" fmla="*/ 582169 w 1176413"/>
                <a:gd name="connsiteY8" fmla="*/ 1269204 h 1269204"/>
                <a:gd name="connsiteX9" fmla="*/ 560242 w 1176413"/>
                <a:gd name="connsiteY9" fmla="*/ 1247278 h 1269204"/>
                <a:gd name="connsiteX10" fmla="*/ 582169 w 1176413"/>
                <a:gd name="connsiteY10" fmla="*/ 1225351 h 1269204"/>
                <a:gd name="connsiteX11" fmla="*/ 599011 w 1176413"/>
                <a:gd name="connsiteY11" fmla="*/ 1225351 h 1269204"/>
                <a:gd name="connsiteX12" fmla="*/ 620937 w 1176413"/>
                <a:gd name="connsiteY12" fmla="*/ 1247278 h 1269204"/>
                <a:gd name="connsiteX13" fmla="*/ 599011 w 1176413"/>
                <a:gd name="connsiteY13" fmla="*/ 1269204 h 1269204"/>
                <a:gd name="connsiteX14" fmla="*/ 412158 w 1176413"/>
                <a:gd name="connsiteY14" fmla="*/ 1269204 h 1269204"/>
                <a:gd name="connsiteX15" fmla="*/ 395315 w 1176413"/>
                <a:gd name="connsiteY15" fmla="*/ 1269204 h 1269204"/>
                <a:gd name="connsiteX16" fmla="*/ 373389 w 1176413"/>
                <a:gd name="connsiteY16" fmla="*/ 1247278 h 1269204"/>
                <a:gd name="connsiteX17" fmla="*/ 395315 w 1176413"/>
                <a:gd name="connsiteY17" fmla="*/ 1225351 h 1269204"/>
                <a:gd name="connsiteX18" fmla="*/ 412158 w 1176413"/>
                <a:gd name="connsiteY18" fmla="*/ 1225351 h 1269204"/>
                <a:gd name="connsiteX19" fmla="*/ 434084 w 1176413"/>
                <a:gd name="connsiteY19" fmla="*/ 1247278 h 1269204"/>
                <a:gd name="connsiteX20" fmla="*/ 412158 w 1176413"/>
                <a:gd name="connsiteY20" fmla="*/ 1269204 h 1269204"/>
                <a:gd name="connsiteX21" fmla="*/ 225622 w 1176413"/>
                <a:gd name="connsiteY21" fmla="*/ 1269204 h 1269204"/>
                <a:gd name="connsiteX22" fmla="*/ 208780 w 1176413"/>
                <a:gd name="connsiteY22" fmla="*/ 1269204 h 1269204"/>
                <a:gd name="connsiteX23" fmla="*/ 186853 w 1176413"/>
                <a:gd name="connsiteY23" fmla="*/ 1247278 h 1269204"/>
                <a:gd name="connsiteX24" fmla="*/ 208780 w 1176413"/>
                <a:gd name="connsiteY24" fmla="*/ 1225351 h 1269204"/>
                <a:gd name="connsiteX25" fmla="*/ 225622 w 1176413"/>
                <a:gd name="connsiteY25" fmla="*/ 1225351 h 1269204"/>
                <a:gd name="connsiteX26" fmla="*/ 247549 w 1176413"/>
                <a:gd name="connsiteY26" fmla="*/ 1247278 h 1269204"/>
                <a:gd name="connsiteX27" fmla="*/ 225622 w 1176413"/>
                <a:gd name="connsiteY27" fmla="*/ 1269204 h 1269204"/>
                <a:gd name="connsiteX28" fmla="*/ 38769 w 1176413"/>
                <a:gd name="connsiteY28" fmla="*/ 1269204 h 1269204"/>
                <a:gd name="connsiteX29" fmla="*/ 21926 w 1176413"/>
                <a:gd name="connsiteY29" fmla="*/ 1269204 h 1269204"/>
                <a:gd name="connsiteX30" fmla="*/ 0 w 1176413"/>
                <a:gd name="connsiteY30" fmla="*/ 1247278 h 1269204"/>
                <a:gd name="connsiteX31" fmla="*/ 21926 w 1176413"/>
                <a:gd name="connsiteY31" fmla="*/ 1225351 h 1269204"/>
                <a:gd name="connsiteX32" fmla="*/ 38769 w 1176413"/>
                <a:gd name="connsiteY32" fmla="*/ 1225351 h 1269204"/>
                <a:gd name="connsiteX33" fmla="*/ 60695 w 1176413"/>
                <a:gd name="connsiteY33" fmla="*/ 1247278 h 1269204"/>
                <a:gd name="connsiteX34" fmla="*/ 38769 w 1176413"/>
                <a:gd name="connsiteY34" fmla="*/ 1269204 h 1269204"/>
                <a:gd name="connsiteX35" fmla="*/ 955240 w 1176413"/>
                <a:gd name="connsiteY35" fmla="*/ 1266662 h 1269204"/>
                <a:gd name="connsiteX36" fmla="*/ 933313 w 1176413"/>
                <a:gd name="connsiteY36" fmla="*/ 1247913 h 1269204"/>
                <a:gd name="connsiteX37" fmla="*/ 951744 w 1176413"/>
                <a:gd name="connsiteY37" fmla="*/ 1222809 h 1269204"/>
                <a:gd name="connsiteX38" fmla="*/ 966997 w 1176413"/>
                <a:gd name="connsiteY38" fmla="*/ 1219949 h 1269204"/>
                <a:gd name="connsiteX39" fmla="*/ 993373 w 1176413"/>
                <a:gd name="connsiteY39" fmla="*/ 1236473 h 1269204"/>
                <a:gd name="connsiteX40" fmla="*/ 976849 w 1176413"/>
                <a:gd name="connsiteY40" fmla="*/ 1262849 h 1269204"/>
                <a:gd name="connsiteX41" fmla="*/ 958735 w 1176413"/>
                <a:gd name="connsiteY41" fmla="*/ 1266344 h 1269204"/>
                <a:gd name="connsiteX42" fmla="*/ 955240 w 1176413"/>
                <a:gd name="connsiteY42" fmla="*/ 1266662 h 1269204"/>
                <a:gd name="connsiteX43" fmla="*/ 1110315 w 1176413"/>
                <a:gd name="connsiteY43" fmla="*/ 1171647 h 1269204"/>
                <a:gd name="connsiteX44" fmla="*/ 1097286 w 1176413"/>
                <a:gd name="connsiteY44" fmla="*/ 1167515 h 1269204"/>
                <a:gd name="connsiteX45" fmla="*/ 1092202 w 1176413"/>
                <a:gd name="connsiteY45" fmla="*/ 1136691 h 1269204"/>
                <a:gd name="connsiteX46" fmla="*/ 1100782 w 1176413"/>
                <a:gd name="connsiteY46" fmla="*/ 1123980 h 1269204"/>
                <a:gd name="connsiteX47" fmla="*/ 1131289 w 1176413"/>
                <a:gd name="connsiteY47" fmla="*/ 1116671 h 1269204"/>
                <a:gd name="connsiteX48" fmla="*/ 1138597 w 1176413"/>
                <a:gd name="connsiteY48" fmla="*/ 1147178 h 1269204"/>
                <a:gd name="connsiteX49" fmla="*/ 1128428 w 1176413"/>
                <a:gd name="connsiteY49" fmla="*/ 1162749 h 1269204"/>
                <a:gd name="connsiteX50" fmla="*/ 1110315 w 1176413"/>
                <a:gd name="connsiteY50" fmla="*/ 1171647 h 1269204"/>
                <a:gd name="connsiteX51" fmla="*/ 1154486 w 1176413"/>
                <a:gd name="connsiteY51" fmla="*/ 994326 h 1269204"/>
                <a:gd name="connsiteX52" fmla="*/ 1132560 w 1176413"/>
                <a:gd name="connsiteY52" fmla="*/ 972400 h 1269204"/>
                <a:gd name="connsiteX53" fmla="*/ 1132560 w 1176413"/>
                <a:gd name="connsiteY53" fmla="*/ 955558 h 1269204"/>
                <a:gd name="connsiteX54" fmla="*/ 1154486 w 1176413"/>
                <a:gd name="connsiteY54" fmla="*/ 933631 h 1269204"/>
                <a:gd name="connsiteX55" fmla="*/ 1176413 w 1176413"/>
                <a:gd name="connsiteY55" fmla="*/ 955558 h 1269204"/>
                <a:gd name="connsiteX56" fmla="*/ 1176413 w 1176413"/>
                <a:gd name="connsiteY56" fmla="*/ 972400 h 1269204"/>
                <a:gd name="connsiteX57" fmla="*/ 1154486 w 1176413"/>
                <a:gd name="connsiteY57" fmla="*/ 994326 h 1269204"/>
                <a:gd name="connsiteX58" fmla="*/ 1154486 w 1176413"/>
                <a:gd name="connsiteY58" fmla="*/ 807473 h 1269204"/>
                <a:gd name="connsiteX59" fmla="*/ 1132560 w 1176413"/>
                <a:gd name="connsiteY59" fmla="*/ 785547 h 1269204"/>
                <a:gd name="connsiteX60" fmla="*/ 1132560 w 1176413"/>
                <a:gd name="connsiteY60" fmla="*/ 768704 h 1269204"/>
                <a:gd name="connsiteX61" fmla="*/ 1154486 w 1176413"/>
                <a:gd name="connsiteY61" fmla="*/ 746778 h 1269204"/>
                <a:gd name="connsiteX62" fmla="*/ 1176413 w 1176413"/>
                <a:gd name="connsiteY62" fmla="*/ 768704 h 1269204"/>
                <a:gd name="connsiteX63" fmla="*/ 1176413 w 1176413"/>
                <a:gd name="connsiteY63" fmla="*/ 785547 h 1269204"/>
                <a:gd name="connsiteX64" fmla="*/ 1154486 w 1176413"/>
                <a:gd name="connsiteY64" fmla="*/ 807473 h 1269204"/>
                <a:gd name="connsiteX65" fmla="*/ 1154486 w 1176413"/>
                <a:gd name="connsiteY65" fmla="*/ 620938 h 1269204"/>
                <a:gd name="connsiteX66" fmla="*/ 1132560 w 1176413"/>
                <a:gd name="connsiteY66" fmla="*/ 599011 h 1269204"/>
                <a:gd name="connsiteX67" fmla="*/ 1132560 w 1176413"/>
                <a:gd name="connsiteY67" fmla="*/ 582169 h 1269204"/>
                <a:gd name="connsiteX68" fmla="*/ 1154486 w 1176413"/>
                <a:gd name="connsiteY68" fmla="*/ 560242 h 1269204"/>
                <a:gd name="connsiteX69" fmla="*/ 1176413 w 1176413"/>
                <a:gd name="connsiteY69" fmla="*/ 582169 h 1269204"/>
                <a:gd name="connsiteX70" fmla="*/ 1176413 w 1176413"/>
                <a:gd name="connsiteY70" fmla="*/ 599011 h 1269204"/>
                <a:gd name="connsiteX71" fmla="*/ 1154486 w 1176413"/>
                <a:gd name="connsiteY71" fmla="*/ 620938 h 1269204"/>
                <a:gd name="connsiteX72" fmla="*/ 1154486 w 1176413"/>
                <a:gd name="connsiteY72" fmla="*/ 434084 h 1269204"/>
                <a:gd name="connsiteX73" fmla="*/ 1132560 w 1176413"/>
                <a:gd name="connsiteY73" fmla="*/ 412158 h 1269204"/>
                <a:gd name="connsiteX74" fmla="*/ 1132560 w 1176413"/>
                <a:gd name="connsiteY74" fmla="*/ 394998 h 1269204"/>
                <a:gd name="connsiteX75" fmla="*/ 1154486 w 1176413"/>
                <a:gd name="connsiteY75" fmla="*/ 373071 h 1269204"/>
                <a:gd name="connsiteX76" fmla="*/ 1176413 w 1176413"/>
                <a:gd name="connsiteY76" fmla="*/ 394998 h 1269204"/>
                <a:gd name="connsiteX77" fmla="*/ 1176413 w 1176413"/>
                <a:gd name="connsiteY77" fmla="*/ 411840 h 1269204"/>
                <a:gd name="connsiteX78" fmla="*/ 1154486 w 1176413"/>
                <a:gd name="connsiteY78" fmla="*/ 434084 h 1269204"/>
                <a:gd name="connsiteX79" fmla="*/ 1154486 w 1176413"/>
                <a:gd name="connsiteY79" fmla="*/ 247549 h 1269204"/>
                <a:gd name="connsiteX80" fmla="*/ 1132560 w 1176413"/>
                <a:gd name="connsiteY80" fmla="*/ 225622 h 1269204"/>
                <a:gd name="connsiteX81" fmla="*/ 1132560 w 1176413"/>
                <a:gd name="connsiteY81" fmla="*/ 208780 h 1269204"/>
                <a:gd name="connsiteX82" fmla="*/ 1154486 w 1176413"/>
                <a:gd name="connsiteY82" fmla="*/ 186853 h 1269204"/>
                <a:gd name="connsiteX83" fmla="*/ 1176413 w 1176413"/>
                <a:gd name="connsiteY83" fmla="*/ 208780 h 1269204"/>
                <a:gd name="connsiteX84" fmla="*/ 1176413 w 1176413"/>
                <a:gd name="connsiteY84" fmla="*/ 225622 h 1269204"/>
                <a:gd name="connsiteX85" fmla="*/ 1154486 w 1176413"/>
                <a:gd name="connsiteY85" fmla="*/ 247549 h 1269204"/>
                <a:gd name="connsiteX86" fmla="*/ 1154486 w 1176413"/>
                <a:gd name="connsiteY86" fmla="*/ 60695 h 1269204"/>
                <a:gd name="connsiteX87" fmla="*/ 1132560 w 1176413"/>
                <a:gd name="connsiteY87" fmla="*/ 38769 h 1269204"/>
                <a:gd name="connsiteX88" fmla="*/ 1132560 w 1176413"/>
                <a:gd name="connsiteY88" fmla="*/ 21927 h 1269204"/>
                <a:gd name="connsiteX89" fmla="*/ 1154486 w 1176413"/>
                <a:gd name="connsiteY89" fmla="*/ 0 h 1269204"/>
                <a:gd name="connsiteX90" fmla="*/ 1176413 w 1176413"/>
                <a:gd name="connsiteY90" fmla="*/ 21927 h 1269204"/>
                <a:gd name="connsiteX91" fmla="*/ 1176413 w 1176413"/>
                <a:gd name="connsiteY91" fmla="*/ 38769 h 1269204"/>
                <a:gd name="connsiteX92" fmla="*/ 1154486 w 1176413"/>
                <a:gd name="connsiteY92" fmla="*/ 60695 h 1269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1176413" h="1269204">
                  <a:moveTo>
                    <a:pt x="785547" y="1269204"/>
                  </a:moveTo>
                  <a:lnTo>
                    <a:pt x="768704" y="1269204"/>
                  </a:lnTo>
                  <a:cubicBezTo>
                    <a:pt x="756628" y="1269204"/>
                    <a:pt x="746778" y="1259353"/>
                    <a:pt x="746778" y="1247278"/>
                  </a:cubicBezTo>
                  <a:cubicBezTo>
                    <a:pt x="746778" y="1235202"/>
                    <a:pt x="756628" y="1225351"/>
                    <a:pt x="768704" y="1225351"/>
                  </a:cubicBezTo>
                  <a:lnTo>
                    <a:pt x="785547" y="1225351"/>
                  </a:lnTo>
                  <a:cubicBezTo>
                    <a:pt x="797622" y="1225351"/>
                    <a:pt x="807473" y="1235202"/>
                    <a:pt x="807473" y="1247278"/>
                  </a:cubicBezTo>
                  <a:cubicBezTo>
                    <a:pt x="807791" y="1259353"/>
                    <a:pt x="797940" y="1269204"/>
                    <a:pt x="785547" y="1269204"/>
                  </a:cubicBezTo>
                  <a:close/>
                  <a:moveTo>
                    <a:pt x="599011" y="1269204"/>
                  </a:moveTo>
                  <a:lnTo>
                    <a:pt x="582169" y="1269204"/>
                  </a:lnTo>
                  <a:cubicBezTo>
                    <a:pt x="570093" y="1269204"/>
                    <a:pt x="560242" y="1259353"/>
                    <a:pt x="560242" y="1247278"/>
                  </a:cubicBezTo>
                  <a:cubicBezTo>
                    <a:pt x="560242" y="1235202"/>
                    <a:pt x="570093" y="1225351"/>
                    <a:pt x="582169" y="1225351"/>
                  </a:cubicBezTo>
                  <a:lnTo>
                    <a:pt x="599011" y="1225351"/>
                  </a:lnTo>
                  <a:cubicBezTo>
                    <a:pt x="611086" y="1225351"/>
                    <a:pt x="620937" y="1235202"/>
                    <a:pt x="620937" y="1247278"/>
                  </a:cubicBezTo>
                  <a:cubicBezTo>
                    <a:pt x="620937" y="1259353"/>
                    <a:pt x="611086" y="1269204"/>
                    <a:pt x="599011" y="1269204"/>
                  </a:cubicBezTo>
                  <a:close/>
                  <a:moveTo>
                    <a:pt x="412158" y="1269204"/>
                  </a:moveTo>
                  <a:lnTo>
                    <a:pt x="395315" y="1269204"/>
                  </a:lnTo>
                  <a:cubicBezTo>
                    <a:pt x="383240" y="1269204"/>
                    <a:pt x="373389" y="1259353"/>
                    <a:pt x="373389" y="1247278"/>
                  </a:cubicBezTo>
                  <a:cubicBezTo>
                    <a:pt x="373389" y="1235202"/>
                    <a:pt x="383240" y="1225351"/>
                    <a:pt x="395315" y="1225351"/>
                  </a:cubicBezTo>
                  <a:lnTo>
                    <a:pt x="412158" y="1225351"/>
                  </a:lnTo>
                  <a:cubicBezTo>
                    <a:pt x="424233" y="1225351"/>
                    <a:pt x="434084" y="1235202"/>
                    <a:pt x="434084" y="1247278"/>
                  </a:cubicBezTo>
                  <a:cubicBezTo>
                    <a:pt x="434402" y="1259353"/>
                    <a:pt x="424551" y="1269204"/>
                    <a:pt x="412158" y="1269204"/>
                  </a:cubicBezTo>
                  <a:close/>
                  <a:moveTo>
                    <a:pt x="225622" y="1269204"/>
                  </a:moveTo>
                  <a:lnTo>
                    <a:pt x="208780" y="1269204"/>
                  </a:lnTo>
                  <a:cubicBezTo>
                    <a:pt x="196704" y="1269204"/>
                    <a:pt x="186853" y="1259353"/>
                    <a:pt x="186853" y="1247278"/>
                  </a:cubicBezTo>
                  <a:cubicBezTo>
                    <a:pt x="186853" y="1235202"/>
                    <a:pt x="196704" y="1225351"/>
                    <a:pt x="208780" y="1225351"/>
                  </a:cubicBezTo>
                  <a:lnTo>
                    <a:pt x="225622" y="1225351"/>
                  </a:lnTo>
                  <a:cubicBezTo>
                    <a:pt x="237697" y="1225351"/>
                    <a:pt x="247549" y="1235202"/>
                    <a:pt x="247549" y="1247278"/>
                  </a:cubicBezTo>
                  <a:cubicBezTo>
                    <a:pt x="247549" y="1259353"/>
                    <a:pt x="237697" y="1269204"/>
                    <a:pt x="225622" y="1269204"/>
                  </a:cubicBezTo>
                  <a:close/>
                  <a:moveTo>
                    <a:pt x="38769" y="1269204"/>
                  </a:moveTo>
                  <a:lnTo>
                    <a:pt x="21926" y="1269204"/>
                  </a:lnTo>
                  <a:cubicBezTo>
                    <a:pt x="9851" y="1269204"/>
                    <a:pt x="0" y="1259353"/>
                    <a:pt x="0" y="1247278"/>
                  </a:cubicBezTo>
                  <a:cubicBezTo>
                    <a:pt x="0" y="1235202"/>
                    <a:pt x="9851" y="1225351"/>
                    <a:pt x="21926" y="1225351"/>
                  </a:cubicBezTo>
                  <a:lnTo>
                    <a:pt x="38769" y="1225351"/>
                  </a:lnTo>
                  <a:cubicBezTo>
                    <a:pt x="50844" y="1225351"/>
                    <a:pt x="60695" y="1235202"/>
                    <a:pt x="60695" y="1247278"/>
                  </a:cubicBezTo>
                  <a:cubicBezTo>
                    <a:pt x="61013" y="1259353"/>
                    <a:pt x="51162" y="1269204"/>
                    <a:pt x="38769" y="1269204"/>
                  </a:cubicBezTo>
                  <a:close/>
                  <a:moveTo>
                    <a:pt x="955240" y="1266662"/>
                  </a:moveTo>
                  <a:cubicBezTo>
                    <a:pt x="944435" y="1266662"/>
                    <a:pt x="935219" y="1258717"/>
                    <a:pt x="933313" y="1247913"/>
                  </a:cubicBezTo>
                  <a:cubicBezTo>
                    <a:pt x="931406" y="1235837"/>
                    <a:pt x="939669" y="1224715"/>
                    <a:pt x="951744" y="1222809"/>
                  </a:cubicBezTo>
                  <a:cubicBezTo>
                    <a:pt x="956828" y="1222173"/>
                    <a:pt x="961913" y="1221220"/>
                    <a:pt x="966997" y="1219949"/>
                  </a:cubicBezTo>
                  <a:cubicBezTo>
                    <a:pt x="978756" y="1217089"/>
                    <a:pt x="990831" y="1224715"/>
                    <a:pt x="993373" y="1236473"/>
                  </a:cubicBezTo>
                  <a:cubicBezTo>
                    <a:pt x="995915" y="1248231"/>
                    <a:pt x="988606" y="1260306"/>
                    <a:pt x="976849" y="1262849"/>
                  </a:cubicBezTo>
                  <a:cubicBezTo>
                    <a:pt x="970811" y="1264120"/>
                    <a:pt x="964773" y="1265391"/>
                    <a:pt x="958735" y="1266344"/>
                  </a:cubicBezTo>
                  <a:cubicBezTo>
                    <a:pt x="957464" y="1266344"/>
                    <a:pt x="956193" y="1266662"/>
                    <a:pt x="955240" y="1266662"/>
                  </a:cubicBezTo>
                  <a:close/>
                  <a:moveTo>
                    <a:pt x="1110315" y="1171647"/>
                  </a:moveTo>
                  <a:cubicBezTo>
                    <a:pt x="1105867" y="1171647"/>
                    <a:pt x="1101417" y="1170375"/>
                    <a:pt x="1097286" y="1167515"/>
                  </a:cubicBezTo>
                  <a:cubicBezTo>
                    <a:pt x="1087435" y="1160524"/>
                    <a:pt x="1085211" y="1146542"/>
                    <a:pt x="1092202" y="1136691"/>
                  </a:cubicBezTo>
                  <a:cubicBezTo>
                    <a:pt x="1095062" y="1132560"/>
                    <a:pt x="1097922" y="1128429"/>
                    <a:pt x="1100782" y="1123980"/>
                  </a:cubicBezTo>
                  <a:cubicBezTo>
                    <a:pt x="1107138" y="1113493"/>
                    <a:pt x="1120802" y="1110315"/>
                    <a:pt x="1131289" y="1116671"/>
                  </a:cubicBezTo>
                  <a:cubicBezTo>
                    <a:pt x="1141775" y="1123026"/>
                    <a:pt x="1144953" y="1136691"/>
                    <a:pt x="1138597" y="1147178"/>
                  </a:cubicBezTo>
                  <a:cubicBezTo>
                    <a:pt x="1135419" y="1152580"/>
                    <a:pt x="1131924" y="1157664"/>
                    <a:pt x="1128428" y="1162749"/>
                  </a:cubicBezTo>
                  <a:cubicBezTo>
                    <a:pt x="1123662" y="1168469"/>
                    <a:pt x="1116989" y="1171647"/>
                    <a:pt x="1110315" y="1171647"/>
                  </a:cubicBezTo>
                  <a:close/>
                  <a:moveTo>
                    <a:pt x="1154486" y="994326"/>
                  </a:moveTo>
                  <a:cubicBezTo>
                    <a:pt x="1142411" y="994326"/>
                    <a:pt x="1132560" y="984475"/>
                    <a:pt x="1132560" y="972400"/>
                  </a:cubicBezTo>
                  <a:lnTo>
                    <a:pt x="1132560" y="955558"/>
                  </a:lnTo>
                  <a:cubicBezTo>
                    <a:pt x="1132560" y="943482"/>
                    <a:pt x="1142411" y="933631"/>
                    <a:pt x="1154486" y="933631"/>
                  </a:cubicBezTo>
                  <a:cubicBezTo>
                    <a:pt x="1166562" y="933631"/>
                    <a:pt x="1176413" y="943482"/>
                    <a:pt x="1176413" y="955558"/>
                  </a:cubicBezTo>
                  <a:lnTo>
                    <a:pt x="1176413" y="972400"/>
                  </a:lnTo>
                  <a:cubicBezTo>
                    <a:pt x="1176413" y="984475"/>
                    <a:pt x="1166562" y="994326"/>
                    <a:pt x="1154486" y="994326"/>
                  </a:cubicBezTo>
                  <a:close/>
                  <a:moveTo>
                    <a:pt x="1154486" y="807473"/>
                  </a:moveTo>
                  <a:cubicBezTo>
                    <a:pt x="1142411" y="807473"/>
                    <a:pt x="1132560" y="797622"/>
                    <a:pt x="1132560" y="785547"/>
                  </a:cubicBezTo>
                  <a:lnTo>
                    <a:pt x="1132560" y="768704"/>
                  </a:lnTo>
                  <a:cubicBezTo>
                    <a:pt x="1132560" y="756629"/>
                    <a:pt x="1142411" y="746778"/>
                    <a:pt x="1154486" y="746778"/>
                  </a:cubicBezTo>
                  <a:cubicBezTo>
                    <a:pt x="1166562" y="746778"/>
                    <a:pt x="1176413" y="756629"/>
                    <a:pt x="1176413" y="768704"/>
                  </a:cubicBezTo>
                  <a:lnTo>
                    <a:pt x="1176413" y="785547"/>
                  </a:lnTo>
                  <a:cubicBezTo>
                    <a:pt x="1176413" y="797622"/>
                    <a:pt x="1166562" y="807473"/>
                    <a:pt x="1154486" y="807473"/>
                  </a:cubicBezTo>
                  <a:close/>
                  <a:moveTo>
                    <a:pt x="1154486" y="620938"/>
                  </a:moveTo>
                  <a:cubicBezTo>
                    <a:pt x="1142411" y="620938"/>
                    <a:pt x="1132560" y="611087"/>
                    <a:pt x="1132560" y="599011"/>
                  </a:cubicBezTo>
                  <a:lnTo>
                    <a:pt x="1132560" y="582169"/>
                  </a:lnTo>
                  <a:cubicBezTo>
                    <a:pt x="1132560" y="570093"/>
                    <a:pt x="1142411" y="560242"/>
                    <a:pt x="1154486" y="560242"/>
                  </a:cubicBezTo>
                  <a:cubicBezTo>
                    <a:pt x="1166562" y="560242"/>
                    <a:pt x="1176413" y="570093"/>
                    <a:pt x="1176413" y="582169"/>
                  </a:cubicBezTo>
                  <a:lnTo>
                    <a:pt x="1176413" y="599011"/>
                  </a:lnTo>
                  <a:cubicBezTo>
                    <a:pt x="1176413" y="611087"/>
                    <a:pt x="1166562" y="620938"/>
                    <a:pt x="1154486" y="620938"/>
                  </a:cubicBezTo>
                  <a:close/>
                  <a:moveTo>
                    <a:pt x="1154486" y="434084"/>
                  </a:moveTo>
                  <a:cubicBezTo>
                    <a:pt x="1142411" y="434084"/>
                    <a:pt x="1132560" y="424233"/>
                    <a:pt x="1132560" y="412158"/>
                  </a:cubicBezTo>
                  <a:lnTo>
                    <a:pt x="1132560" y="394998"/>
                  </a:lnTo>
                  <a:cubicBezTo>
                    <a:pt x="1132560" y="382922"/>
                    <a:pt x="1142411" y="373071"/>
                    <a:pt x="1154486" y="373071"/>
                  </a:cubicBezTo>
                  <a:cubicBezTo>
                    <a:pt x="1166562" y="373071"/>
                    <a:pt x="1176413" y="382922"/>
                    <a:pt x="1176413" y="394998"/>
                  </a:cubicBezTo>
                  <a:lnTo>
                    <a:pt x="1176413" y="411840"/>
                  </a:lnTo>
                  <a:cubicBezTo>
                    <a:pt x="1176413" y="424233"/>
                    <a:pt x="1166562" y="434084"/>
                    <a:pt x="1154486" y="434084"/>
                  </a:cubicBezTo>
                  <a:close/>
                  <a:moveTo>
                    <a:pt x="1154486" y="247549"/>
                  </a:moveTo>
                  <a:cubicBezTo>
                    <a:pt x="1142411" y="247549"/>
                    <a:pt x="1132560" y="237698"/>
                    <a:pt x="1132560" y="225622"/>
                  </a:cubicBezTo>
                  <a:lnTo>
                    <a:pt x="1132560" y="208780"/>
                  </a:lnTo>
                  <a:cubicBezTo>
                    <a:pt x="1132560" y="196704"/>
                    <a:pt x="1142411" y="186853"/>
                    <a:pt x="1154486" y="186853"/>
                  </a:cubicBezTo>
                  <a:cubicBezTo>
                    <a:pt x="1166562" y="186853"/>
                    <a:pt x="1176413" y="196704"/>
                    <a:pt x="1176413" y="208780"/>
                  </a:cubicBezTo>
                  <a:lnTo>
                    <a:pt x="1176413" y="225622"/>
                  </a:lnTo>
                  <a:cubicBezTo>
                    <a:pt x="1176413" y="237698"/>
                    <a:pt x="1166562" y="247549"/>
                    <a:pt x="1154486" y="247549"/>
                  </a:cubicBezTo>
                  <a:close/>
                  <a:moveTo>
                    <a:pt x="1154486" y="60695"/>
                  </a:moveTo>
                  <a:cubicBezTo>
                    <a:pt x="1142411" y="60695"/>
                    <a:pt x="1132560" y="50844"/>
                    <a:pt x="1132560" y="38769"/>
                  </a:cubicBezTo>
                  <a:lnTo>
                    <a:pt x="1132560" y="21927"/>
                  </a:lnTo>
                  <a:cubicBezTo>
                    <a:pt x="1132560" y="9851"/>
                    <a:pt x="1142411" y="0"/>
                    <a:pt x="1154486" y="0"/>
                  </a:cubicBezTo>
                  <a:cubicBezTo>
                    <a:pt x="1166562" y="0"/>
                    <a:pt x="1176413" y="9851"/>
                    <a:pt x="1176413" y="21927"/>
                  </a:cubicBezTo>
                  <a:lnTo>
                    <a:pt x="1176413" y="38769"/>
                  </a:lnTo>
                  <a:cubicBezTo>
                    <a:pt x="1176413" y="50844"/>
                    <a:pt x="1166562" y="60695"/>
                    <a:pt x="1154486" y="60695"/>
                  </a:cubicBezTo>
                  <a:close/>
                </a:path>
              </a:pathLst>
            </a:custGeom>
            <a:solidFill>
              <a:srgbClr val="4285F4"/>
            </a:solidFill>
            <a:ln w="317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B0BB0275-9C4D-DD55-FFC2-B98F1CACA4A2}"/>
                </a:ext>
              </a:extLst>
            </p:cNvPr>
            <p:cNvGrpSpPr/>
            <p:nvPr/>
          </p:nvGrpSpPr>
          <p:grpSpPr>
            <a:xfrm>
              <a:off x="3923780" y="1978027"/>
              <a:ext cx="658289" cy="681011"/>
              <a:chOff x="-4995788" y="128609"/>
              <a:chExt cx="3729009" cy="3857728"/>
            </a:xfrm>
            <a:solidFill>
              <a:srgbClr val="04143F"/>
            </a:solidFill>
          </p:grpSpPr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A9A2E21C-F091-7929-9783-F8C189B56F9D}"/>
                  </a:ext>
                </a:extLst>
              </p:cNvPr>
              <p:cNvSpPr/>
              <p:nvPr/>
            </p:nvSpPr>
            <p:spPr>
              <a:xfrm>
                <a:off x="-4995788" y="128689"/>
                <a:ext cx="3600501" cy="3857648"/>
              </a:xfrm>
              <a:custGeom>
                <a:avLst/>
                <a:gdLst>
                  <a:gd name="connsiteX0" fmla="*/ 3600426 w 3600501"/>
                  <a:gd name="connsiteY0" fmla="*/ 2803767 h 3857648"/>
                  <a:gd name="connsiteX1" fmla="*/ 3600426 w 3600501"/>
                  <a:gd name="connsiteY1" fmla="*/ 2077909 h 3857648"/>
                  <a:gd name="connsiteX2" fmla="*/ 3438024 w 3600501"/>
                  <a:gd name="connsiteY2" fmla="*/ 1262958 h 3857648"/>
                  <a:gd name="connsiteX3" fmla="*/ 3319282 w 3600501"/>
                  <a:gd name="connsiteY3" fmla="*/ 1312327 h 3857648"/>
                  <a:gd name="connsiteX4" fmla="*/ 3319253 w 3600501"/>
                  <a:gd name="connsiteY4" fmla="*/ 1312327 h 3857648"/>
                  <a:gd name="connsiteX5" fmla="*/ 3471839 w 3600501"/>
                  <a:gd name="connsiteY5" fmla="*/ 2077974 h 3857648"/>
                  <a:gd name="connsiteX6" fmla="*/ 3471839 w 3600501"/>
                  <a:gd name="connsiteY6" fmla="*/ 2123955 h 3857648"/>
                  <a:gd name="connsiteX7" fmla="*/ 3471839 w 3600501"/>
                  <a:gd name="connsiteY7" fmla="*/ 2123926 h 3857648"/>
                  <a:gd name="connsiteX8" fmla="*/ 3060814 w 3600501"/>
                  <a:gd name="connsiteY8" fmla="*/ 2182135 h 3857648"/>
                  <a:gd name="connsiteX9" fmla="*/ 2966240 w 3600501"/>
                  <a:gd name="connsiteY9" fmla="*/ 2118674 h 3857648"/>
                  <a:gd name="connsiteX10" fmla="*/ 2936016 w 3600501"/>
                  <a:gd name="connsiteY10" fmla="*/ 2103175 h 3857648"/>
                  <a:gd name="connsiteX11" fmla="*/ 2877377 w 3600501"/>
                  <a:gd name="connsiteY11" fmla="*/ 2217610 h 3857648"/>
                  <a:gd name="connsiteX12" fmla="*/ 2907543 w 3600501"/>
                  <a:gd name="connsiteY12" fmla="*/ 2233052 h 3857648"/>
                  <a:gd name="connsiteX13" fmla="*/ 3068109 w 3600501"/>
                  <a:gd name="connsiteY13" fmla="*/ 2382361 h 3857648"/>
                  <a:gd name="connsiteX14" fmla="*/ 3125428 w 3600501"/>
                  <a:gd name="connsiteY14" fmla="*/ 2593986 h 3857648"/>
                  <a:gd name="connsiteX15" fmla="*/ 3254015 w 3600501"/>
                  <a:gd name="connsiteY15" fmla="*/ 2595335 h 3857648"/>
                  <a:gd name="connsiteX16" fmla="*/ 3151145 w 3600501"/>
                  <a:gd name="connsiteY16" fmla="*/ 2277393 h 3857648"/>
                  <a:gd name="connsiteX17" fmla="*/ 3471725 w 3600501"/>
                  <a:gd name="connsiteY17" fmla="*/ 2258105 h 3857648"/>
                  <a:gd name="connsiteX18" fmla="*/ 3471725 w 3600501"/>
                  <a:gd name="connsiteY18" fmla="*/ 2803831 h 3857648"/>
                  <a:gd name="connsiteX19" fmla="*/ 3426317 w 3600501"/>
                  <a:gd name="connsiteY19" fmla="*/ 3087179 h 3857648"/>
                  <a:gd name="connsiteX20" fmla="*/ 3404590 w 3600501"/>
                  <a:gd name="connsiteY20" fmla="*/ 3100927 h 3857648"/>
                  <a:gd name="connsiteX21" fmla="*/ 3194573 w 3600501"/>
                  <a:gd name="connsiteY21" fmla="*/ 3163757 h 3857648"/>
                  <a:gd name="connsiteX22" fmla="*/ 2983095 w 3600501"/>
                  <a:gd name="connsiteY22" fmla="*/ 3106008 h 3857648"/>
                  <a:gd name="connsiteX23" fmla="*/ 2916821 w 3600501"/>
                  <a:gd name="connsiteY23" fmla="*/ 3216196 h 3857648"/>
                  <a:gd name="connsiteX24" fmla="*/ 2916792 w 3600501"/>
                  <a:gd name="connsiteY24" fmla="*/ 3216225 h 3857648"/>
                  <a:gd name="connsiteX25" fmla="*/ 3346098 w 3600501"/>
                  <a:gd name="connsiteY25" fmla="*/ 3267660 h 3857648"/>
                  <a:gd name="connsiteX26" fmla="*/ 3268946 w 3600501"/>
                  <a:gd name="connsiteY26" fmla="*/ 3381118 h 3857648"/>
                  <a:gd name="connsiteX27" fmla="*/ 2546012 w 3600501"/>
                  <a:gd name="connsiteY27" fmla="*/ 3729024 h 3857648"/>
                  <a:gd name="connsiteX28" fmla="*/ 2185967 w 3600501"/>
                  <a:gd name="connsiteY28" fmla="*/ 3729024 h 3857648"/>
                  <a:gd name="connsiteX29" fmla="*/ 1958933 w 3600501"/>
                  <a:gd name="connsiteY29" fmla="*/ 3634965 h 3857648"/>
                  <a:gd name="connsiteX30" fmla="*/ 1864498 w 3600501"/>
                  <a:gd name="connsiteY30" fmla="*/ 3408070 h 3857648"/>
                  <a:gd name="connsiteX31" fmla="*/ 1864498 w 3600501"/>
                  <a:gd name="connsiteY31" fmla="*/ 2943289 h 3857648"/>
                  <a:gd name="connsiteX32" fmla="*/ 2322703 w 3600501"/>
                  <a:gd name="connsiteY32" fmla="*/ 2902790 h 3857648"/>
                  <a:gd name="connsiteX33" fmla="*/ 2351836 w 3600501"/>
                  <a:gd name="connsiteY33" fmla="*/ 2885367 h 3857648"/>
                  <a:gd name="connsiteX34" fmla="*/ 2285676 w 3600501"/>
                  <a:gd name="connsiteY34" fmla="*/ 2775090 h 3857648"/>
                  <a:gd name="connsiteX35" fmla="*/ 2256630 w 3600501"/>
                  <a:gd name="connsiteY35" fmla="*/ 2792513 h 3857648"/>
                  <a:gd name="connsiteX36" fmla="*/ 1864496 w 3600501"/>
                  <a:gd name="connsiteY36" fmla="*/ 2803190 h 3857648"/>
                  <a:gd name="connsiteX37" fmla="*/ 1864496 w 3600501"/>
                  <a:gd name="connsiteY37" fmla="*/ 1960979 h 3857648"/>
                  <a:gd name="connsiteX38" fmla="*/ 1994377 w 3600501"/>
                  <a:gd name="connsiteY38" fmla="*/ 1989968 h 3857648"/>
                  <a:gd name="connsiteX39" fmla="*/ 2119982 w 3600501"/>
                  <a:gd name="connsiteY39" fmla="*/ 2118725 h 3857648"/>
                  <a:gd name="connsiteX40" fmla="*/ 2089528 w 3600501"/>
                  <a:gd name="connsiteY40" fmla="*/ 2296021 h 3857648"/>
                  <a:gd name="connsiteX41" fmla="*/ 2043432 w 3600501"/>
                  <a:gd name="connsiteY41" fmla="*/ 2357560 h 3857648"/>
                  <a:gd name="connsiteX42" fmla="*/ 2042083 w 3600501"/>
                  <a:gd name="connsiteY42" fmla="*/ 2356526 h 3857648"/>
                  <a:gd name="connsiteX43" fmla="*/ 1944239 w 3600501"/>
                  <a:gd name="connsiteY43" fmla="*/ 2487810 h 3857648"/>
                  <a:gd name="connsiteX44" fmla="*/ 2047109 w 3600501"/>
                  <a:gd name="connsiteY44" fmla="*/ 2564963 h 3857648"/>
                  <a:gd name="connsiteX45" fmla="*/ 2135511 w 3600501"/>
                  <a:gd name="connsiteY45" fmla="*/ 2446332 h 3857648"/>
                  <a:gd name="connsiteX46" fmla="*/ 2140907 w 3600501"/>
                  <a:gd name="connsiteY46" fmla="*/ 2441883 h 3857648"/>
                  <a:gd name="connsiteX47" fmla="*/ 2191625 w 3600501"/>
                  <a:gd name="connsiteY47" fmla="*/ 2374174 h 3857648"/>
                  <a:gd name="connsiteX48" fmla="*/ 2192256 w 3600501"/>
                  <a:gd name="connsiteY48" fmla="*/ 2373341 h 3857648"/>
                  <a:gd name="connsiteX49" fmla="*/ 2219007 w 3600501"/>
                  <a:gd name="connsiteY49" fmla="*/ 2337664 h 3857648"/>
                  <a:gd name="connsiteX50" fmla="*/ 2378793 w 3600501"/>
                  <a:gd name="connsiteY50" fmla="*/ 2257815 h 3857648"/>
                  <a:gd name="connsiteX51" fmla="*/ 2538550 w 3600501"/>
                  <a:gd name="connsiteY51" fmla="*/ 2337664 h 3857648"/>
                  <a:gd name="connsiteX52" fmla="*/ 2565933 w 3600501"/>
                  <a:gd name="connsiteY52" fmla="*/ 2374174 h 3857648"/>
                  <a:gd name="connsiteX53" fmla="*/ 2616650 w 3600501"/>
                  <a:gd name="connsiteY53" fmla="*/ 2441883 h 3857648"/>
                  <a:gd name="connsiteX54" fmla="*/ 2617626 w 3600501"/>
                  <a:gd name="connsiteY54" fmla="*/ 2442715 h 3857648"/>
                  <a:gd name="connsiteX55" fmla="*/ 2743458 w 3600501"/>
                  <a:gd name="connsiteY55" fmla="*/ 2603450 h 3857648"/>
                  <a:gd name="connsiteX56" fmla="*/ 2844719 w 3600501"/>
                  <a:gd name="connsiteY56" fmla="*/ 2524232 h 3857648"/>
                  <a:gd name="connsiteX57" fmla="*/ 2719607 w 3600501"/>
                  <a:gd name="connsiteY57" fmla="*/ 2364417 h 3857648"/>
                  <a:gd name="connsiteX58" fmla="*/ 2666823 w 3600501"/>
                  <a:gd name="connsiteY58" fmla="*/ 2294067 h 3857648"/>
                  <a:gd name="connsiteX59" fmla="*/ 2639440 w 3600501"/>
                  <a:gd name="connsiteY59" fmla="*/ 2113273 h 3857648"/>
                  <a:gd name="connsiteX60" fmla="*/ 2771415 w 3600501"/>
                  <a:gd name="connsiteY60" fmla="*/ 1986691 h 3857648"/>
                  <a:gd name="connsiteX61" fmla="*/ 2959417 w 3600501"/>
                  <a:gd name="connsiteY61" fmla="*/ 1940595 h 3857648"/>
                  <a:gd name="connsiteX62" fmla="*/ 2928763 w 3600501"/>
                  <a:gd name="connsiteY62" fmla="*/ 1815681 h 3857648"/>
                  <a:gd name="connsiteX63" fmla="*/ 2755170 w 3600501"/>
                  <a:gd name="connsiteY63" fmla="*/ 1858305 h 3857648"/>
                  <a:gd name="connsiteX64" fmla="*/ 2749200 w 3600501"/>
                  <a:gd name="connsiteY64" fmla="*/ 1858305 h 3857648"/>
                  <a:gd name="connsiteX65" fmla="*/ 2691335 w 3600501"/>
                  <a:gd name="connsiteY65" fmla="*/ 1872713 h 3857648"/>
                  <a:gd name="connsiteX66" fmla="*/ 2691307 w 3600501"/>
                  <a:gd name="connsiteY66" fmla="*/ 1872685 h 3857648"/>
                  <a:gd name="connsiteX67" fmla="*/ 2519984 w 3600501"/>
                  <a:gd name="connsiteY67" fmla="*/ 1836404 h 3857648"/>
                  <a:gd name="connsiteX68" fmla="*/ 2443147 w 3600501"/>
                  <a:gd name="connsiteY68" fmla="*/ 1679058 h 3857648"/>
                  <a:gd name="connsiteX69" fmla="*/ 2443147 w 3600501"/>
                  <a:gd name="connsiteY69" fmla="*/ 1631468 h 3857648"/>
                  <a:gd name="connsiteX70" fmla="*/ 2443147 w 3600501"/>
                  <a:gd name="connsiteY70" fmla="*/ 1629660 h 3857648"/>
                  <a:gd name="connsiteX71" fmla="*/ 2440449 w 3600501"/>
                  <a:gd name="connsiteY71" fmla="*/ 1298749 h 3857648"/>
                  <a:gd name="connsiteX72" fmla="*/ 2311862 w 3600501"/>
                  <a:gd name="connsiteY72" fmla="*/ 1299725 h 3857648"/>
                  <a:gd name="connsiteX73" fmla="*/ 2314703 w 3600501"/>
                  <a:gd name="connsiteY73" fmla="*/ 1679058 h 3857648"/>
                  <a:gd name="connsiteX74" fmla="*/ 2314675 w 3600501"/>
                  <a:gd name="connsiteY74" fmla="*/ 1679058 h 3857648"/>
                  <a:gd name="connsiteX75" fmla="*/ 2237838 w 3600501"/>
                  <a:gd name="connsiteY75" fmla="*/ 1836435 h 3857648"/>
                  <a:gd name="connsiteX76" fmla="*/ 2066515 w 3600501"/>
                  <a:gd name="connsiteY76" fmla="*/ 1872772 h 3857648"/>
                  <a:gd name="connsiteX77" fmla="*/ 2008651 w 3600501"/>
                  <a:gd name="connsiteY77" fmla="*/ 1858364 h 3857648"/>
                  <a:gd name="connsiteX78" fmla="*/ 1993926 w 3600501"/>
                  <a:gd name="connsiteY78" fmla="*/ 1857732 h 3857648"/>
                  <a:gd name="connsiteX79" fmla="*/ 1864509 w 3600501"/>
                  <a:gd name="connsiteY79" fmla="*/ 1828800 h 3857648"/>
                  <a:gd name="connsiteX80" fmla="*/ 1864509 w 3600501"/>
                  <a:gd name="connsiteY80" fmla="*/ 1259797 h 3857648"/>
                  <a:gd name="connsiteX81" fmla="*/ 2265717 w 3600501"/>
                  <a:gd name="connsiteY81" fmla="*/ 957616 h 3857648"/>
                  <a:gd name="connsiteX82" fmla="*/ 2279867 w 3600501"/>
                  <a:gd name="connsiteY82" fmla="*/ 926761 h 3857648"/>
                  <a:gd name="connsiteX83" fmla="*/ 2163051 w 3600501"/>
                  <a:gd name="connsiteY83" fmla="*/ 873144 h 3857648"/>
                  <a:gd name="connsiteX84" fmla="*/ 2148900 w 3600501"/>
                  <a:gd name="connsiteY84" fmla="*/ 904000 h 3857648"/>
                  <a:gd name="connsiteX85" fmla="*/ 2148900 w 3600501"/>
                  <a:gd name="connsiteY85" fmla="*/ 903971 h 3857648"/>
                  <a:gd name="connsiteX86" fmla="*/ 1864516 w 3600501"/>
                  <a:gd name="connsiteY86" fmla="*/ 1129344 h 3857648"/>
                  <a:gd name="connsiteX87" fmla="*/ 1864516 w 3600501"/>
                  <a:gd name="connsiteY87" fmla="*/ 448345 h 3857648"/>
                  <a:gd name="connsiteX88" fmla="*/ 1959289 w 3600501"/>
                  <a:gd name="connsiteY88" fmla="*/ 222141 h 3857648"/>
                  <a:gd name="connsiteX89" fmla="*/ 2185985 w 3600501"/>
                  <a:gd name="connsiteY89" fmla="*/ 128603 h 3857648"/>
                  <a:gd name="connsiteX90" fmla="*/ 2498960 w 3600501"/>
                  <a:gd name="connsiteY90" fmla="*/ 196485 h 3857648"/>
                  <a:gd name="connsiteX91" fmla="*/ 2283579 w 3600501"/>
                  <a:gd name="connsiteY91" fmla="*/ 584885 h 3857648"/>
                  <a:gd name="connsiteX92" fmla="*/ 2281139 w 3600501"/>
                  <a:gd name="connsiteY92" fmla="*/ 618754 h 3857648"/>
                  <a:gd name="connsiteX93" fmla="*/ 2409727 w 3600501"/>
                  <a:gd name="connsiteY93" fmla="*/ 627939 h 3857648"/>
                  <a:gd name="connsiteX94" fmla="*/ 2412167 w 3600501"/>
                  <a:gd name="connsiteY94" fmla="*/ 594070 h 3857648"/>
                  <a:gd name="connsiteX95" fmla="*/ 2412167 w 3600501"/>
                  <a:gd name="connsiteY95" fmla="*/ 594099 h 3857648"/>
                  <a:gd name="connsiteX96" fmla="*/ 2624336 w 3600501"/>
                  <a:gd name="connsiteY96" fmla="*/ 269529 h 3857648"/>
                  <a:gd name="connsiteX97" fmla="*/ 2802580 w 3600501"/>
                  <a:gd name="connsiteY97" fmla="*/ 446914 h 3857648"/>
                  <a:gd name="connsiteX98" fmla="*/ 2907375 w 3600501"/>
                  <a:gd name="connsiteY98" fmla="*/ 372399 h 3857648"/>
                  <a:gd name="connsiteX99" fmla="*/ 2185992 w 3600501"/>
                  <a:gd name="connsiteY99" fmla="*/ 10 h 3857648"/>
                  <a:gd name="connsiteX100" fmla="*/ 1868109 w 3600501"/>
                  <a:gd name="connsiteY100" fmla="*/ 131757 h 3857648"/>
                  <a:gd name="connsiteX101" fmla="*/ 1800227 w 3600501"/>
                  <a:gd name="connsiteY101" fmla="*/ 218608 h 3857648"/>
                  <a:gd name="connsiteX102" fmla="*/ 1412400 w 3600501"/>
                  <a:gd name="connsiteY102" fmla="*/ 10 h 3857648"/>
                  <a:gd name="connsiteX103" fmla="*/ 1402038 w 3600501"/>
                  <a:gd name="connsiteY103" fmla="*/ 10 h 3857648"/>
                  <a:gd name="connsiteX104" fmla="*/ 1402067 w 3600501"/>
                  <a:gd name="connsiteY104" fmla="*/ 10 h 3857648"/>
                  <a:gd name="connsiteX105" fmla="*/ 675085 w 3600501"/>
                  <a:gd name="connsiteY105" fmla="*/ 399351 h 3857648"/>
                  <a:gd name="connsiteX106" fmla="*/ 331484 w 3600501"/>
                  <a:gd name="connsiteY106" fmla="*/ 938698 h 3857648"/>
                  <a:gd name="connsiteX107" fmla="*/ 0 w 3600501"/>
                  <a:gd name="connsiteY107" fmla="*/ 2077543 h 3857648"/>
                  <a:gd name="connsiteX108" fmla="*/ 0 w 3600501"/>
                  <a:gd name="connsiteY108" fmla="*/ 2803232 h 3857648"/>
                  <a:gd name="connsiteX109" fmla="*/ 232494 w 3600501"/>
                  <a:gd name="connsiteY109" fmla="*/ 3463532 h 3857648"/>
                  <a:gd name="connsiteX110" fmla="*/ 238923 w 3600501"/>
                  <a:gd name="connsiteY110" fmla="*/ 3471368 h 3857648"/>
                  <a:gd name="connsiteX111" fmla="*/ 1042999 w 3600501"/>
                  <a:gd name="connsiteY111" fmla="*/ 3857645 h 3857648"/>
                  <a:gd name="connsiteX112" fmla="*/ 1414500 w 3600501"/>
                  <a:gd name="connsiteY112" fmla="*/ 3857645 h 3857648"/>
                  <a:gd name="connsiteX113" fmla="*/ 1800262 w 3600501"/>
                  <a:gd name="connsiteY113" fmla="*/ 3638275 h 3857648"/>
                  <a:gd name="connsiteX114" fmla="*/ 2186025 w 3600501"/>
                  <a:gd name="connsiteY114" fmla="*/ 3857645 h 3857648"/>
                  <a:gd name="connsiteX115" fmla="*/ 2546070 w 3600501"/>
                  <a:gd name="connsiteY115" fmla="*/ 3857645 h 3857648"/>
                  <a:gd name="connsiteX116" fmla="*/ 3291436 w 3600501"/>
                  <a:gd name="connsiteY116" fmla="*/ 3549035 h 3857648"/>
                  <a:gd name="connsiteX117" fmla="*/ 3600502 w 3600501"/>
                  <a:gd name="connsiteY117" fmla="*/ 2803889 h 3857648"/>
                  <a:gd name="connsiteX118" fmla="*/ 2316975 w 3600501"/>
                  <a:gd name="connsiteY118" fmla="*/ 1937749 h 3857648"/>
                  <a:gd name="connsiteX119" fmla="*/ 2378830 w 3600501"/>
                  <a:gd name="connsiteY119" fmla="*/ 1874345 h 3857648"/>
                  <a:gd name="connsiteX120" fmla="*/ 2554862 w 3600501"/>
                  <a:gd name="connsiteY120" fmla="*/ 1995467 h 3857648"/>
                  <a:gd name="connsiteX121" fmla="*/ 2501189 w 3600501"/>
                  <a:gd name="connsiteY121" fmla="*/ 2152152 h 3857648"/>
                  <a:gd name="connsiteX122" fmla="*/ 2256468 w 3600501"/>
                  <a:gd name="connsiteY122" fmla="*/ 2152152 h 3857648"/>
                  <a:gd name="connsiteX123" fmla="*/ 2202794 w 3600501"/>
                  <a:gd name="connsiteY123" fmla="*/ 1995467 h 3857648"/>
                  <a:gd name="connsiteX124" fmla="*/ 2316973 w 3600501"/>
                  <a:gd name="connsiteY124" fmla="*/ 1937746 h 3857648"/>
                  <a:gd name="connsiteX125" fmla="*/ 1414438 w 3600501"/>
                  <a:gd name="connsiteY125" fmla="*/ 3728936 h 3857648"/>
                  <a:gd name="connsiteX126" fmla="*/ 1043202 w 3600501"/>
                  <a:gd name="connsiteY126" fmla="*/ 3728936 h 3857648"/>
                  <a:gd name="connsiteX127" fmla="*/ 809452 w 3600501"/>
                  <a:gd name="connsiteY127" fmla="*/ 3697162 h 3857648"/>
                  <a:gd name="connsiteX128" fmla="*/ 974147 w 3600501"/>
                  <a:gd name="connsiteY128" fmla="*/ 3298166 h 3857648"/>
                  <a:gd name="connsiteX129" fmla="*/ 973171 w 3600501"/>
                  <a:gd name="connsiteY129" fmla="*/ 3264211 h 3857648"/>
                  <a:gd name="connsiteX130" fmla="*/ 844584 w 3600501"/>
                  <a:gd name="connsiteY130" fmla="*/ 3267942 h 3857648"/>
                  <a:gd name="connsiteX131" fmla="*/ 845560 w 3600501"/>
                  <a:gd name="connsiteY131" fmla="*/ 3301811 h 3857648"/>
                  <a:gd name="connsiteX132" fmla="*/ 845560 w 3600501"/>
                  <a:gd name="connsiteY132" fmla="*/ 3301840 h 3857648"/>
                  <a:gd name="connsiteX133" fmla="*/ 666397 w 3600501"/>
                  <a:gd name="connsiteY133" fmla="*/ 3646330 h 3857648"/>
                  <a:gd name="connsiteX134" fmla="*/ 339072 w 3600501"/>
                  <a:gd name="connsiteY134" fmla="*/ 3390676 h 3857648"/>
                  <a:gd name="connsiteX135" fmla="*/ 332643 w 3600501"/>
                  <a:gd name="connsiteY135" fmla="*/ 3382840 h 3857648"/>
                  <a:gd name="connsiteX136" fmla="*/ 172540 w 3600501"/>
                  <a:gd name="connsiteY136" fmla="*/ 3081806 h 3857648"/>
                  <a:gd name="connsiteX137" fmla="*/ 226673 w 3600501"/>
                  <a:gd name="connsiteY137" fmla="*/ 3086111 h 3857648"/>
                  <a:gd name="connsiteX138" fmla="*/ 500440 w 3600501"/>
                  <a:gd name="connsiteY138" fmla="*/ 3008327 h 3857648"/>
                  <a:gd name="connsiteX139" fmla="*/ 532587 w 3600501"/>
                  <a:gd name="connsiteY139" fmla="*/ 3177614 h 3857648"/>
                  <a:gd name="connsiteX140" fmla="*/ 544412 w 3600501"/>
                  <a:gd name="connsiteY140" fmla="*/ 3209387 h 3857648"/>
                  <a:gd name="connsiteX141" fmla="*/ 664961 w 3600501"/>
                  <a:gd name="connsiteY141" fmla="*/ 3164382 h 3857648"/>
                  <a:gd name="connsiteX142" fmla="*/ 653136 w 3600501"/>
                  <a:gd name="connsiteY142" fmla="*/ 3132608 h 3857648"/>
                  <a:gd name="connsiteX143" fmla="*/ 635713 w 3600501"/>
                  <a:gd name="connsiteY143" fmla="*/ 2914156 h 3857648"/>
                  <a:gd name="connsiteX144" fmla="*/ 736401 w 3600501"/>
                  <a:gd name="connsiteY144" fmla="*/ 2719526 h 3857648"/>
                  <a:gd name="connsiteX145" fmla="*/ 642458 w 3600501"/>
                  <a:gd name="connsiteY145" fmla="*/ 2631698 h 3857648"/>
                  <a:gd name="connsiteX146" fmla="*/ 528280 w 3600501"/>
                  <a:gd name="connsiteY146" fmla="*/ 2820736 h 3857648"/>
                  <a:gd name="connsiteX147" fmla="*/ 508992 w 3600501"/>
                  <a:gd name="connsiteY147" fmla="*/ 2840024 h 3857648"/>
                  <a:gd name="connsiteX148" fmla="*/ 140196 w 3600501"/>
                  <a:gd name="connsiteY148" fmla="*/ 2947655 h 3857648"/>
                  <a:gd name="connsiteX149" fmla="*/ 128571 w 3600501"/>
                  <a:gd name="connsiteY149" fmla="*/ 2803108 h 3857648"/>
                  <a:gd name="connsiteX150" fmla="*/ 128571 w 3600501"/>
                  <a:gd name="connsiteY150" fmla="*/ 2336608 h 3857648"/>
                  <a:gd name="connsiteX151" fmla="*/ 342144 w 3600501"/>
                  <a:gd name="connsiteY151" fmla="*/ 2323318 h 3857648"/>
                  <a:gd name="connsiteX152" fmla="*/ 531756 w 3600501"/>
                  <a:gd name="connsiteY152" fmla="*/ 2422544 h 3857648"/>
                  <a:gd name="connsiteX153" fmla="*/ 619585 w 3600501"/>
                  <a:gd name="connsiteY153" fmla="*/ 2328601 h 3857648"/>
                  <a:gd name="connsiteX154" fmla="*/ 619585 w 3600501"/>
                  <a:gd name="connsiteY154" fmla="*/ 2328630 h 3857648"/>
                  <a:gd name="connsiteX155" fmla="*/ 128571 w 3600501"/>
                  <a:gd name="connsiteY155" fmla="*/ 2202857 h 3857648"/>
                  <a:gd name="connsiteX156" fmla="*/ 128571 w 3600501"/>
                  <a:gd name="connsiteY156" fmla="*/ 2077429 h 3857648"/>
                  <a:gd name="connsiteX157" fmla="*/ 439937 w 3600501"/>
                  <a:gd name="connsiteY157" fmla="*/ 1007801 h 3857648"/>
                  <a:gd name="connsiteX158" fmla="*/ 507445 w 3600501"/>
                  <a:gd name="connsiteY158" fmla="*/ 901603 h 3857648"/>
                  <a:gd name="connsiteX159" fmla="*/ 791631 w 3600501"/>
                  <a:gd name="connsiteY159" fmla="*/ 1044974 h 3857648"/>
                  <a:gd name="connsiteX160" fmla="*/ 635775 w 3600501"/>
                  <a:gd name="connsiteY160" fmla="*/ 1151974 h 3857648"/>
                  <a:gd name="connsiteX161" fmla="*/ 611723 w 3600501"/>
                  <a:gd name="connsiteY161" fmla="*/ 1175969 h 3857648"/>
                  <a:gd name="connsiteX162" fmla="*/ 702565 w 3600501"/>
                  <a:gd name="connsiteY162" fmla="*/ 1267016 h 3857648"/>
                  <a:gd name="connsiteX163" fmla="*/ 726617 w 3600501"/>
                  <a:gd name="connsiteY163" fmla="*/ 1242963 h 3857648"/>
                  <a:gd name="connsiteX164" fmla="*/ 726617 w 3600501"/>
                  <a:gd name="connsiteY164" fmla="*/ 1242935 h 3857648"/>
                  <a:gd name="connsiteX165" fmla="*/ 917948 w 3600501"/>
                  <a:gd name="connsiteY165" fmla="*/ 1135847 h 3857648"/>
                  <a:gd name="connsiteX166" fmla="*/ 1136951 w 3600501"/>
                  <a:gd name="connsiteY166" fmla="*/ 1146122 h 3857648"/>
                  <a:gd name="connsiteX167" fmla="*/ 1177593 w 3600501"/>
                  <a:gd name="connsiteY167" fmla="*/ 1023964 h 3857648"/>
                  <a:gd name="connsiteX168" fmla="*/ 922711 w 3600501"/>
                  <a:gd name="connsiteY168" fmla="*/ 1004676 h 3857648"/>
                  <a:gd name="connsiteX169" fmla="*/ 583644 w 3600501"/>
                  <a:gd name="connsiteY169" fmla="*/ 781632 h 3857648"/>
                  <a:gd name="connsiteX170" fmla="*/ 782955 w 3600501"/>
                  <a:gd name="connsiteY170" fmla="*/ 467996 h 3857648"/>
                  <a:gd name="connsiteX171" fmla="*/ 1100235 w 3600501"/>
                  <a:gd name="connsiteY171" fmla="*/ 194002 h 3857648"/>
                  <a:gd name="connsiteX172" fmla="*/ 1103909 w 3600501"/>
                  <a:gd name="connsiteY172" fmla="*/ 197676 h 3857648"/>
                  <a:gd name="connsiteX173" fmla="*/ 1103909 w 3600501"/>
                  <a:gd name="connsiteY173" fmla="*/ 197647 h 3857648"/>
                  <a:gd name="connsiteX174" fmla="*/ 1211026 w 3600501"/>
                  <a:gd name="connsiteY174" fmla="*/ 388948 h 3857648"/>
                  <a:gd name="connsiteX175" fmla="*/ 1200779 w 3600501"/>
                  <a:gd name="connsiteY175" fmla="*/ 607981 h 3857648"/>
                  <a:gd name="connsiteX176" fmla="*/ 1322938 w 3600501"/>
                  <a:gd name="connsiteY176" fmla="*/ 648681 h 3857648"/>
                  <a:gd name="connsiteX177" fmla="*/ 1231663 w 3600501"/>
                  <a:gd name="connsiteY177" fmla="*/ 149056 h 3857648"/>
                  <a:gd name="connsiteX178" fmla="*/ 1402045 w 3600501"/>
                  <a:gd name="connsiteY178" fmla="*/ 128476 h 3857648"/>
                  <a:gd name="connsiteX179" fmla="*/ 1412407 w 3600501"/>
                  <a:gd name="connsiteY179" fmla="*/ 128476 h 3857648"/>
                  <a:gd name="connsiteX180" fmla="*/ 1412378 w 3600501"/>
                  <a:gd name="connsiteY180" fmla="*/ 128476 h 3857648"/>
                  <a:gd name="connsiteX181" fmla="*/ 1641851 w 3600501"/>
                  <a:gd name="connsiteY181" fmla="*/ 222676 h 3857648"/>
                  <a:gd name="connsiteX182" fmla="*/ 1735911 w 3600501"/>
                  <a:gd name="connsiteY182" fmla="*/ 448218 h 3857648"/>
                  <a:gd name="connsiteX183" fmla="*/ 1735911 w 3600501"/>
                  <a:gd name="connsiteY183" fmla="*/ 1396165 h 3857648"/>
                  <a:gd name="connsiteX184" fmla="*/ 1407638 w 3600501"/>
                  <a:gd name="connsiteY184" fmla="*/ 1207730 h 3857648"/>
                  <a:gd name="connsiteX185" fmla="*/ 1319031 w 3600501"/>
                  <a:gd name="connsiteY185" fmla="*/ 1187007 h 3857648"/>
                  <a:gd name="connsiteX186" fmla="*/ 1298336 w 3600501"/>
                  <a:gd name="connsiteY186" fmla="*/ 1275614 h 3857648"/>
                  <a:gd name="connsiteX187" fmla="*/ 1735908 w 3600501"/>
                  <a:gd name="connsiteY187" fmla="*/ 1524692 h 3857648"/>
                  <a:gd name="connsiteX188" fmla="*/ 1735908 w 3600501"/>
                  <a:gd name="connsiteY188" fmla="*/ 2032613 h 3857648"/>
                  <a:gd name="connsiteX189" fmla="*/ 1338117 w 3600501"/>
                  <a:gd name="connsiteY189" fmla="*/ 2129516 h 3857648"/>
                  <a:gd name="connsiteX190" fmla="*/ 1164928 w 3600501"/>
                  <a:gd name="connsiteY190" fmla="*/ 2002193 h 3857648"/>
                  <a:gd name="connsiteX191" fmla="*/ 1134073 w 3600501"/>
                  <a:gd name="connsiteY191" fmla="*/ 1988042 h 3857648"/>
                  <a:gd name="connsiteX192" fmla="*/ 1080112 w 3600501"/>
                  <a:gd name="connsiteY192" fmla="*/ 2105005 h 3857648"/>
                  <a:gd name="connsiteX193" fmla="*/ 1110967 w 3600501"/>
                  <a:gd name="connsiteY193" fmla="*/ 2119156 h 3857648"/>
                  <a:gd name="connsiteX194" fmla="*/ 1277933 w 3600501"/>
                  <a:gd name="connsiteY194" fmla="*/ 2261293 h 3857648"/>
                  <a:gd name="connsiteX195" fmla="*/ 1344551 w 3600501"/>
                  <a:gd name="connsiteY195" fmla="*/ 2470192 h 3857648"/>
                  <a:gd name="connsiteX196" fmla="*/ 1473139 w 3600501"/>
                  <a:gd name="connsiteY196" fmla="*/ 2465829 h 3857648"/>
                  <a:gd name="connsiteX197" fmla="*/ 1411113 w 3600501"/>
                  <a:gd name="connsiteY197" fmla="*/ 2235459 h 3857648"/>
                  <a:gd name="connsiteX198" fmla="*/ 1735910 w 3600501"/>
                  <a:gd name="connsiteY198" fmla="*/ 2163445 h 3857648"/>
                  <a:gd name="connsiteX199" fmla="*/ 1735910 w 3600501"/>
                  <a:gd name="connsiteY199" fmla="*/ 3065468 h 3857648"/>
                  <a:gd name="connsiteX200" fmla="*/ 1413721 w 3600501"/>
                  <a:gd name="connsiteY200" fmla="*/ 2969688 h 3857648"/>
                  <a:gd name="connsiteX201" fmla="*/ 1381574 w 3600501"/>
                  <a:gd name="connsiteY201" fmla="*/ 2773963 h 3857648"/>
                  <a:gd name="connsiteX202" fmla="*/ 1369806 w 3600501"/>
                  <a:gd name="connsiteY202" fmla="*/ 2742132 h 3857648"/>
                  <a:gd name="connsiteX203" fmla="*/ 1249257 w 3600501"/>
                  <a:gd name="connsiteY203" fmla="*/ 2787138 h 3857648"/>
                  <a:gd name="connsiteX204" fmla="*/ 1261025 w 3600501"/>
                  <a:gd name="connsiteY204" fmla="*/ 2819285 h 3857648"/>
                  <a:gd name="connsiteX205" fmla="*/ 1278620 w 3600501"/>
                  <a:gd name="connsiteY205" fmla="*/ 3037796 h 3857648"/>
                  <a:gd name="connsiteX206" fmla="*/ 1178042 w 3600501"/>
                  <a:gd name="connsiteY206" fmla="*/ 3232573 h 3857648"/>
                  <a:gd name="connsiteX207" fmla="*/ 1271984 w 3600501"/>
                  <a:gd name="connsiteY207" fmla="*/ 3320401 h 3857648"/>
                  <a:gd name="connsiteX208" fmla="*/ 1271956 w 3600501"/>
                  <a:gd name="connsiteY208" fmla="*/ 3320401 h 3857648"/>
                  <a:gd name="connsiteX209" fmla="*/ 1394577 w 3600501"/>
                  <a:gd name="connsiteY209" fmla="*/ 3100656 h 3857648"/>
                  <a:gd name="connsiteX210" fmla="*/ 1735907 w 3600501"/>
                  <a:gd name="connsiteY210" fmla="*/ 3238686 h 3857648"/>
                  <a:gd name="connsiteX211" fmla="*/ 1735907 w 3600501"/>
                  <a:gd name="connsiteY211" fmla="*/ 3408091 h 3857648"/>
                  <a:gd name="connsiteX212" fmla="*/ 1641531 w 3600501"/>
                  <a:gd name="connsiteY212" fmla="*/ 3635015 h 3857648"/>
                  <a:gd name="connsiteX213" fmla="*/ 1414438 w 3600501"/>
                  <a:gd name="connsiteY213" fmla="*/ 3728928 h 3857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</a:cxnLst>
                <a:rect l="l" t="t" r="r" b="b"/>
                <a:pathLst>
                  <a:path w="3600501" h="3857648">
                    <a:moveTo>
                      <a:pt x="3600426" y="2803767"/>
                    </a:moveTo>
                    <a:lnTo>
                      <a:pt x="3600426" y="2077909"/>
                    </a:lnTo>
                    <a:cubicBezTo>
                      <a:pt x="3600799" y="1798176"/>
                      <a:pt x="3545604" y="1521140"/>
                      <a:pt x="3438024" y="1262958"/>
                    </a:cubicBezTo>
                    <a:lnTo>
                      <a:pt x="3319282" y="1312327"/>
                    </a:lnTo>
                    <a:lnTo>
                      <a:pt x="3319253" y="1312327"/>
                    </a:lnTo>
                    <a:cubicBezTo>
                      <a:pt x="3420345" y="1554894"/>
                      <a:pt x="3472206" y="1815141"/>
                      <a:pt x="3471839" y="2077974"/>
                    </a:cubicBezTo>
                    <a:lnTo>
                      <a:pt x="3471839" y="2123955"/>
                    </a:lnTo>
                    <a:lnTo>
                      <a:pt x="3471839" y="2123926"/>
                    </a:lnTo>
                    <a:cubicBezTo>
                      <a:pt x="3332663" y="2085924"/>
                      <a:pt x="3183979" y="2106992"/>
                      <a:pt x="3060814" y="2182135"/>
                    </a:cubicBezTo>
                    <a:cubicBezTo>
                      <a:pt x="3031624" y="2157652"/>
                      <a:pt x="2999936" y="2136383"/>
                      <a:pt x="2966240" y="2118674"/>
                    </a:cubicBezTo>
                    <a:lnTo>
                      <a:pt x="2936016" y="2103175"/>
                    </a:lnTo>
                    <a:lnTo>
                      <a:pt x="2877377" y="2217610"/>
                    </a:lnTo>
                    <a:lnTo>
                      <a:pt x="2907543" y="2233052"/>
                    </a:lnTo>
                    <a:cubicBezTo>
                      <a:pt x="2973961" y="2266835"/>
                      <a:pt x="3029584" y="2318559"/>
                      <a:pt x="3068109" y="2382361"/>
                    </a:cubicBezTo>
                    <a:cubicBezTo>
                      <a:pt x="3106628" y="2446138"/>
                      <a:pt x="3126490" y="2519472"/>
                      <a:pt x="3125428" y="2593986"/>
                    </a:cubicBezTo>
                    <a:lnTo>
                      <a:pt x="3254015" y="2595335"/>
                    </a:lnTo>
                    <a:cubicBezTo>
                      <a:pt x="3255135" y="2481010"/>
                      <a:pt x="3219027" y="2369418"/>
                      <a:pt x="3151145" y="2277393"/>
                    </a:cubicBezTo>
                    <a:cubicBezTo>
                      <a:pt x="3250540" y="2226188"/>
                      <a:pt x="3366900" y="2219184"/>
                      <a:pt x="3471725" y="2258105"/>
                    </a:cubicBezTo>
                    <a:lnTo>
                      <a:pt x="3471725" y="2803831"/>
                    </a:lnTo>
                    <a:cubicBezTo>
                      <a:pt x="3471524" y="2900102"/>
                      <a:pt x="3456197" y="2995705"/>
                      <a:pt x="3426317" y="3087179"/>
                    </a:cubicBezTo>
                    <a:lnTo>
                      <a:pt x="3404590" y="3100927"/>
                    </a:lnTo>
                    <a:cubicBezTo>
                      <a:pt x="3341817" y="3141082"/>
                      <a:pt x="3269059" y="3162868"/>
                      <a:pt x="3194573" y="3163757"/>
                    </a:cubicBezTo>
                    <a:cubicBezTo>
                      <a:pt x="3120059" y="3164647"/>
                      <a:pt x="3046786" y="3144641"/>
                      <a:pt x="2983095" y="3106008"/>
                    </a:cubicBezTo>
                    <a:lnTo>
                      <a:pt x="2916821" y="3216196"/>
                    </a:lnTo>
                    <a:lnTo>
                      <a:pt x="2916792" y="3216225"/>
                    </a:lnTo>
                    <a:cubicBezTo>
                      <a:pt x="3045666" y="3294759"/>
                      <a:pt x="3202293" y="3313525"/>
                      <a:pt x="3346098" y="3267660"/>
                    </a:cubicBezTo>
                    <a:cubicBezTo>
                      <a:pt x="3323279" y="3307384"/>
                      <a:pt x="3297476" y="3345297"/>
                      <a:pt x="3268946" y="3381118"/>
                    </a:cubicBezTo>
                    <a:cubicBezTo>
                      <a:pt x="3093545" y="3601179"/>
                      <a:pt x="2827413" y="3729282"/>
                      <a:pt x="2546012" y="3729024"/>
                    </a:cubicBezTo>
                    <a:lnTo>
                      <a:pt x="2185967" y="3729024"/>
                    </a:lnTo>
                    <a:cubicBezTo>
                      <a:pt x="2100835" y="3728938"/>
                      <a:pt x="2019178" y="3695127"/>
                      <a:pt x="1958933" y="3634965"/>
                    </a:cubicBezTo>
                    <a:cubicBezTo>
                      <a:pt x="1898686" y="3574804"/>
                      <a:pt x="1864733" y="3493202"/>
                      <a:pt x="1864498" y="3408070"/>
                    </a:cubicBezTo>
                    <a:lnTo>
                      <a:pt x="1864498" y="2943289"/>
                    </a:lnTo>
                    <a:cubicBezTo>
                      <a:pt x="2015188" y="3002100"/>
                      <a:pt x="2184674" y="2987117"/>
                      <a:pt x="2322703" y="2902790"/>
                    </a:cubicBezTo>
                    <a:lnTo>
                      <a:pt x="2351836" y="2885367"/>
                    </a:lnTo>
                    <a:lnTo>
                      <a:pt x="2285676" y="2775090"/>
                    </a:lnTo>
                    <a:lnTo>
                      <a:pt x="2256630" y="2792513"/>
                    </a:lnTo>
                    <a:cubicBezTo>
                      <a:pt x="2136882" y="2864757"/>
                      <a:pt x="1987999" y="2868806"/>
                      <a:pt x="1864496" y="2803190"/>
                    </a:cubicBezTo>
                    <a:lnTo>
                      <a:pt x="1864496" y="1960979"/>
                    </a:lnTo>
                    <a:lnTo>
                      <a:pt x="1994377" y="1989968"/>
                    </a:lnTo>
                    <a:cubicBezTo>
                      <a:pt x="2054452" y="2010289"/>
                      <a:pt x="2101149" y="2058165"/>
                      <a:pt x="2119982" y="2118725"/>
                    </a:cubicBezTo>
                    <a:cubicBezTo>
                      <a:pt x="2138814" y="2179284"/>
                      <a:pt x="2127502" y="2245218"/>
                      <a:pt x="2089528" y="2296021"/>
                    </a:cubicBezTo>
                    <a:lnTo>
                      <a:pt x="2043432" y="2357560"/>
                    </a:lnTo>
                    <a:lnTo>
                      <a:pt x="2042083" y="2356526"/>
                    </a:lnTo>
                    <a:lnTo>
                      <a:pt x="1944239" y="2487810"/>
                    </a:lnTo>
                    <a:lnTo>
                      <a:pt x="2047109" y="2564963"/>
                    </a:lnTo>
                    <a:lnTo>
                      <a:pt x="2135511" y="2446332"/>
                    </a:lnTo>
                    <a:cubicBezTo>
                      <a:pt x="2137119" y="2444609"/>
                      <a:pt x="2139444" y="2443835"/>
                      <a:pt x="2140907" y="2441883"/>
                    </a:cubicBezTo>
                    <a:lnTo>
                      <a:pt x="2191625" y="2374174"/>
                    </a:lnTo>
                    <a:lnTo>
                      <a:pt x="2192256" y="2373341"/>
                    </a:lnTo>
                    <a:lnTo>
                      <a:pt x="2219007" y="2337664"/>
                    </a:lnTo>
                    <a:cubicBezTo>
                      <a:pt x="2256751" y="2287406"/>
                      <a:pt x="2315932" y="2257815"/>
                      <a:pt x="2378793" y="2257815"/>
                    </a:cubicBezTo>
                    <a:cubicBezTo>
                      <a:pt x="2441652" y="2257815"/>
                      <a:pt x="2500834" y="2287407"/>
                      <a:pt x="2538550" y="2337664"/>
                    </a:cubicBezTo>
                    <a:lnTo>
                      <a:pt x="2565933" y="2374174"/>
                    </a:lnTo>
                    <a:lnTo>
                      <a:pt x="2616650" y="2441883"/>
                    </a:lnTo>
                    <a:cubicBezTo>
                      <a:pt x="2616650" y="2441883"/>
                      <a:pt x="2617368" y="2442400"/>
                      <a:pt x="2617626" y="2442715"/>
                    </a:cubicBezTo>
                    <a:lnTo>
                      <a:pt x="2743458" y="2603450"/>
                    </a:lnTo>
                    <a:lnTo>
                      <a:pt x="2844719" y="2524232"/>
                    </a:lnTo>
                    <a:lnTo>
                      <a:pt x="2719607" y="2364417"/>
                    </a:lnTo>
                    <a:lnTo>
                      <a:pt x="2666823" y="2294067"/>
                    </a:lnTo>
                    <a:cubicBezTo>
                      <a:pt x="2628849" y="2241828"/>
                      <a:pt x="2618631" y="2174407"/>
                      <a:pt x="2639440" y="2113273"/>
                    </a:cubicBezTo>
                    <a:cubicBezTo>
                      <a:pt x="2660249" y="2052136"/>
                      <a:pt x="2709474" y="2004921"/>
                      <a:pt x="2771415" y="1986691"/>
                    </a:cubicBezTo>
                    <a:lnTo>
                      <a:pt x="2959417" y="1940595"/>
                    </a:lnTo>
                    <a:lnTo>
                      <a:pt x="2928763" y="1815681"/>
                    </a:lnTo>
                    <a:lnTo>
                      <a:pt x="2755170" y="1858305"/>
                    </a:lnTo>
                    <a:cubicBezTo>
                      <a:pt x="2753189" y="1858621"/>
                      <a:pt x="2751180" y="1858305"/>
                      <a:pt x="2749200" y="1858305"/>
                    </a:cubicBezTo>
                    <a:lnTo>
                      <a:pt x="2691335" y="1872713"/>
                    </a:lnTo>
                    <a:lnTo>
                      <a:pt x="2691307" y="1872685"/>
                    </a:lnTo>
                    <a:cubicBezTo>
                      <a:pt x="2631662" y="1887639"/>
                      <a:pt x="2568458" y="1874234"/>
                      <a:pt x="2519984" y="1836404"/>
                    </a:cubicBezTo>
                    <a:cubicBezTo>
                      <a:pt x="2471505" y="1798575"/>
                      <a:pt x="2443177" y="1740537"/>
                      <a:pt x="2443147" y="1679058"/>
                    </a:cubicBezTo>
                    <a:lnTo>
                      <a:pt x="2443147" y="1631468"/>
                    </a:lnTo>
                    <a:cubicBezTo>
                      <a:pt x="2443176" y="1630866"/>
                      <a:pt x="2443176" y="1630263"/>
                      <a:pt x="2443147" y="1629660"/>
                    </a:cubicBezTo>
                    <a:lnTo>
                      <a:pt x="2440449" y="1298749"/>
                    </a:lnTo>
                    <a:lnTo>
                      <a:pt x="2311862" y="1299725"/>
                    </a:lnTo>
                    <a:lnTo>
                      <a:pt x="2314703" y="1679058"/>
                    </a:lnTo>
                    <a:lnTo>
                      <a:pt x="2314675" y="1679058"/>
                    </a:lnTo>
                    <a:cubicBezTo>
                      <a:pt x="2314675" y="1740539"/>
                      <a:pt x="2286316" y="1798608"/>
                      <a:pt x="2237838" y="1836435"/>
                    </a:cubicBezTo>
                    <a:cubicBezTo>
                      <a:pt x="2189359" y="1874265"/>
                      <a:pt x="2126187" y="1887669"/>
                      <a:pt x="2066515" y="1872772"/>
                    </a:cubicBezTo>
                    <a:lnTo>
                      <a:pt x="2008651" y="1858364"/>
                    </a:lnTo>
                    <a:cubicBezTo>
                      <a:pt x="2003800" y="1857560"/>
                      <a:pt x="1998835" y="1857359"/>
                      <a:pt x="1993926" y="1857732"/>
                    </a:cubicBezTo>
                    <a:lnTo>
                      <a:pt x="1864509" y="1828800"/>
                    </a:lnTo>
                    <a:lnTo>
                      <a:pt x="1864509" y="1259797"/>
                    </a:lnTo>
                    <a:cubicBezTo>
                      <a:pt x="2040828" y="1233591"/>
                      <a:pt x="2191834" y="1119842"/>
                      <a:pt x="2265717" y="957616"/>
                    </a:cubicBezTo>
                    <a:lnTo>
                      <a:pt x="2279867" y="926761"/>
                    </a:lnTo>
                    <a:lnTo>
                      <a:pt x="2163051" y="873144"/>
                    </a:lnTo>
                    <a:lnTo>
                      <a:pt x="2148900" y="904000"/>
                    </a:lnTo>
                    <a:lnTo>
                      <a:pt x="2148900" y="903971"/>
                    </a:lnTo>
                    <a:cubicBezTo>
                      <a:pt x="2095829" y="1020449"/>
                      <a:pt x="1990032" y="1104288"/>
                      <a:pt x="1864516" y="1129344"/>
                    </a:cubicBezTo>
                    <a:lnTo>
                      <a:pt x="1864516" y="448345"/>
                    </a:lnTo>
                    <a:cubicBezTo>
                      <a:pt x="1864975" y="363389"/>
                      <a:pt x="1899045" y="282041"/>
                      <a:pt x="1959289" y="222141"/>
                    </a:cubicBezTo>
                    <a:cubicBezTo>
                      <a:pt x="2019507" y="162239"/>
                      <a:pt x="2101022" y="128603"/>
                      <a:pt x="2185985" y="128603"/>
                    </a:cubicBezTo>
                    <a:cubicBezTo>
                      <a:pt x="2293962" y="128517"/>
                      <a:pt x="2400711" y="151680"/>
                      <a:pt x="2498960" y="196485"/>
                    </a:cubicBezTo>
                    <a:cubicBezTo>
                      <a:pt x="2373274" y="287730"/>
                      <a:pt x="2294395" y="429948"/>
                      <a:pt x="2283579" y="584885"/>
                    </a:cubicBezTo>
                    <a:lnTo>
                      <a:pt x="2281139" y="618754"/>
                    </a:lnTo>
                    <a:lnTo>
                      <a:pt x="2409727" y="627939"/>
                    </a:lnTo>
                    <a:lnTo>
                      <a:pt x="2412167" y="594070"/>
                    </a:lnTo>
                    <a:lnTo>
                      <a:pt x="2412167" y="594099"/>
                    </a:lnTo>
                    <a:cubicBezTo>
                      <a:pt x="2421839" y="456444"/>
                      <a:pt x="2502119" y="333595"/>
                      <a:pt x="2624336" y="269529"/>
                    </a:cubicBezTo>
                    <a:cubicBezTo>
                      <a:pt x="2693308" y="318209"/>
                      <a:pt x="2753555" y="378196"/>
                      <a:pt x="2802580" y="446914"/>
                    </a:cubicBezTo>
                    <a:lnTo>
                      <a:pt x="2907375" y="372399"/>
                    </a:lnTo>
                    <a:cubicBezTo>
                      <a:pt x="2741476" y="138700"/>
                      <a:pt x="2472588" y="-101"/>
                      <a:pt x="2185992" y="10"/>
                    </a:cubicBezTo>
                    <a:cubicBezTo>
                      <a:pt x="2066648" y="-536"/>
                      <a:pt x="1952095" y="46938"/>
                      <a:pt x="1868109" y="131757"/>
                    </a:cubicBezTo>
                    <a:cubicBezTo>
                      <a:pt x="1842018" y="157819"/>
                      <a:pt x="1819200" y="186980"/>
                      <a:pt x="1800227" y="218608"/>
                    </a:cubicBezTo>
                    <a:cubicBezTo>
                      <a:pt x="1718828" y="82159"/>
                      <a:pt x="1571298" y="-1026"/>
                      <a:pt x="1412400" y="10"/>
                    </a:cubicBezTo>
                    <a:lnTo>
                      <a:pt x="1402038" y="10"/>
                    </a:lnTo>
                    <a:lnTo>
                      <a:pt x="1402067" y="10"/>
                    </a:lnTo>
                    <a:cubicBezTo>
                      <a:pt x="1107205" y="-679"/>
                      <a:pt x="832667" y="150126"/>
                      <a:pt x="675085" y="399351"/>
                    </a:cubicBezTo>
                    <a:lnTo>
                      <a:pt x="331484" y="938698"/>
                    </a:lnTo>
                    <a:cubicBezTo>
                      <a:pt x="114811" y="1278992"/>
                      <a:pt x="-205" y="1674072"/>
                      <a:pt x="0" y="2077543"/>
                    </a:cubicBezTo>
                    <a:lnTo>
                      <a:pt x="0" y="2803232"/>
                    </a:lnTo>
                    <a:cubicBezTo>
                      <a:pt x="574" y="3043301"/>
                      <a:pt x="82546" y="3276052"/>
                      <a:pt x="232494" y="3463532"/>
                    </a:cubicBezTo>
                    <a:lnTo>
                      <a:pt x="238923" y="3471368"/>
                    </a:lnTo>
                    <a:cubicBezTo>
                      <a:pt x="433899" y="3716140"/>
                      <a:pt x="730025" y="3858424"/>
                      <a:pt x="1042999" y="3857645"/>
                    </a:cubicBezTo>
                    <a:lnTo>
                      <a:pt x="1414500" y="3857645"/>
                    </a:lnTo>
                    <a:cubicBezTo>
                      <a:pt x="1572706" y="3857416"/>
                      <a:pt x="1719179" y="3774122"/>
                      <a:pt x="1800262" y="3638275"/>
                    </a:cubicBezTo>
                    <a:cubicBezTo>
                      <a:pt x="1881346" y="3774122"/>
                      <a:pt x="2027818" y="3857417"/>
                      <a:pt x="2186025" y="3857645"/>
                    </a:cubicBezTo>
                    <a:lnTo>
                      <a:pt x="2546070" y="3857645"/>
                    </a:lnTo>
                    <a:cubicBezTo>
                      <a:pt x="2825604" y="3857645"/>
                      <a:pt x="3093713" y="3746655"/>
                      <a:pt x="3291436" y="3549035"/>
                    </a:cubicBezTo>
                    <a:cubicBezTo>
                      <a:pt x="3489167" y="3351444"/>
                      <a:pt x="3600333" y="3083423"/>
                      <a:pt x="3600502" y="2803889"/>
                    </a:cubicBezTo>
                    <a:close/>
                    <a:moveTo>
                      <a:pt x="2316975" y="1937749"/>
                    </a:moveTo>
                    <a:cubicBezTo>
                      <a:pt x="2340340" y="1919465"/>
                      <a:pt x="2361149" y="1898168"/>
                      <a:pt x="2378830" y="1874345"/>
                    </a:cubicBezTo>
                    <a:cubicBezTo>
                      <a:pt x="2422544" y="1933041"/>
                      <a:pt x="2484426" y="1975635"/>
                      <a:pt x="2554862" y="1995467"/>
                    </a:cubicBezTo>
                    <a:cubicBezTo>
                      <a:pt x="2523950" y="2042309"/>
                      <a:pt x="2505494" y="2096213"/>
                      <a:pt x="2501189" y="2152152"/>
                    </a:cubicBezTo>
                    <a:cubicBezTo>
                      <a:pt x="2422456" y="2121613"/>
                      <a:pt x="2335200" y="2121613"/>
                      <a:pt x="2256468" y="2152152"/>
                    </a:cubicBezTo>
                    <a:cubicBezTo>
                      <a:pt x="2252163" y="2096211"/>
                      <a:pt x="2233707" y="2042309"/>
                      <a:pt x="2202794" y="1995467"/>
                    </a:cubicBezTo>
                    <a:cubicBezTo>
                      <a:pt x="2244269" y="1983900"/>
                      <a:pt x="2283077" y="1964267"/>
                      <a:pt x="2316973" y="1937746"/>
                    </a:cubicBezTo>
                    <a:close/>
                    <a:moveTo>
                      <a:pt x="1414438" y="3728936"/>
                    </a:moveTo>
                    <a:lnTo>
                      <a:pt x="1043202" y="3728936"/>
                    </a:lnTo>
                    <a:cubicBezTo>
                      <a:pt x="964242" y="3728591"/>
                      <a:pt x="885657" y="3717914"/>
                      <a:pt x="809452" y="3697162"/>
                    </a:cubicBezTo>
                    <a:cubicBezTo>
                      <a:pt x="918899" y="3593858"/>
                      <a:pt x="978857" y="3448599"/>
                      <a:pt x="974147" y="3298166"/>
                    </a:cubicBezTo>
                    <a:lnTo>
                      <a:pt x="973171" y="3264211"/>
                    </a:lnTo>
                    <a:lnTo>
                      <a:pt x="844584" y="3267942"/>
                    </a:lnTo>
                    <a:lnTo>
                      <a:pt x="845560" y="3301811"/>
                    </a:lnTo>
                    <a:lnTo>
                      <a:pt x="845560" y="3301840"/>
                    </a:lnTo>
                    <a:cubicBezTo>
                      <a:pt x="849693" y="3439987"/>
                      <a:pt x="781868" y="3570382"/>
                      <a:pt x="666397" y="3646330"/>
                    </a:cubicBezTo>
                    <a:cubicBezTo>
                      <a:pt x="538846" y="3587806"/>
                      <a:pt x="426732" y="3500262"/>
                      <a:pt x="339072" y="3390676"/>
                    </a:cubicBezTo>
                    <a:lnTo>
                      <a:pt x="332643" y="3382840"/>
                    </a:lnTo>
                    <a:cubicBezTo>
                      <a:pt x="261230" y="3293174"/>
                      <a:pt x="206979" y="3191134"/>
                      <a:pt x="172540" y="3081806"/>
                    </a:cubicBezTo>
                    <a:cubicBezTo>
                      <a:pt x="190594" y="3083614"/>
                      <a:pt x="208677" y="3086111"/>
                      <a:pt x="226673" y="3086111"/>
                    </a:cubicBezTo>
                    <a:cubicBezTo>
                      <a:pt x="323371" y="3085939"/>
                      <a:pt x="418122" y="3059016"/>
                      <a:pt x="500440" y="3008327"/>
                    </a:cubicBezTo>
                    <a:cubicBezTo>
                      <a:pt x="501904" y="3066134"/>
                      <a:pt x="512753" y="3123306"/>
                      <a:pt x="532587" y="3177614"/>
                    </a:cubicBezTo>
                    <a:lnTo>
                      <a:pt x="544412" y="3209387"/>
                    </a:lnTo>
                    <a:lnTo>
                      <a:pt x="664961" y="3164382"/>
                    </a:lnTo>
                    <a:lnTo>
                      <a:pt x="653136" y="3132608"/>
                    </a:lnTo>
                    <a:cubicBezTo>
                      <a:pt x="627045" y="3062861"/>
                      <a:pt x="621017" y="2987172"/>
                      <a:pt x="635713" y="2914156"/>
                    </a:cubicBezTo>
                    <a:cubicBezTo>
                      <a:pt x="650437" y="2841166"/>
                      <a:pt x="685311" y="2773717"/>
                      <a:pt x="736401" y="2719526"/>
                    </a:cubicBezTo>
                    <a:lnTo>
                      <a:pt x="642458" y="2631698"/>
                    </a:lnTo>
                    <a:cubicBezTo>
                      <a:pt x="591597" y="2686031"/>
                      <a:pt x="552675" y="2750410"/>
                      <a:pt x="528280" y="2820736"/>
                    </a:cubicBezTo>
                    <a:lnTo>
                      <a:pt x="508992" y="2840024"/>
                    </a:lnTo>
                    <a:cubicBezTo>
                      <a:pt x="412669" y="2936780"/>
                      <a:pt x="273456" y="2977392"/>
                      <a:pt x="140196" y="2947655"/>
                    </a:cubicBezTo>
                    <a:cubicBezTo>
                      <a:pt x="132532" y="2899837"/>
                      <a:pt x="128629" y="2851531"/>
                      <a:pt x="128571" y="2803108"/>
                    </a:cubicBezTo>
                    <a:lnTo>
                      <a:pt x="128571" y="2336608"/>
                    </a:lnTo>
                    <a:cubicBezTo>
                      <a:pt x="197228" y="2312756"/>
                      <a:pt x="271083" y="2308163"/>
                      <a:pt x="342144" y="2323318"/>
                    </a:cubicBezTo>
                    <a:cubicBezTo>
                      <a:pt x="413241" y="2338473"/>
                      <a:pt x="478800" y="2372801"/>
                      <a:pt x="531756" y="2422544"/>
                    </a:cubicBezTo>
                    <a:lnTo>
                      <a:pt x="619585" y="2328601"/>
                    </a:lnTo>
                    <a:lnTo>
                      <a:pt x="619585" y="2328630"/>
                    </a:lnTo>
                    <a:cubicBezTo>
                      <a:pt x="488271" y="2205326"/>
                      <a:pt x="302965" y="2157851"/>
                      <a:pt x="128571" y="2202857"/>
                    </a:cubicBezTo>
                    <a:lnTo>
                      <a:pt x="128571" y="2077429"/>
                    </a:lnTo>
                    <a:cubicBezTo>
                      <a:pt x="128428" y="1698529"/>
                      <a:pt x="236438" y="1327433"/>
                      <a:pt x="439937" y="1007801"/>
                    </a:cubicBezTo>
                    <a:lnTo>
                      <a:pt x="507445" y="901603"/>
                    </a:lnTo>
                    <a:cubicBezTo>
                      <a:pt x="618038" y="907630"/>
                      <a:pt x="721077" y="959610"/>
                      <a:pt x="791631" y="1044974"/>
                    </a:cubicBezTo>
                    <a:cubicBezTo>
                      <a:pt x="733709" y="1071036"/>
                      <a:pt x="680928" y="1107259"/>
                      <a:pt x="635775" y="1151974"/>
                    </a:cubicBezTo>
                    <a:lnTo>
                      <a:pt x="611723" y="1175969"/>
                    </a:lnTo>
                    <a:lnTo>
                      <a:pt x="702565" y="1267016"/>
                    </a:lnTo>
                    <a:lnTo>
                      <a:pt x="726617" y="1242963"/>
                    </a:lnTo>
                    <a:lnTo>
                      <a:pt x="726617" y="1242935"/>
                    </a:lnTo>
                    <a:cubicBezTo>
                      <a:pt x="779142" y="1190065"/>
                      <a:pt x="845417" y="1152953"/>
                      <a:pt x="917948" y="1135847"/>
                    </a:cubicBezTo>
                    <a:cubicBezTo>
                      <a:pt x="990479" y="1118741"/>
                      <a:pt x="1066338" y="1122299"/>
                      <a:pt x="1136951" y="1146122"/>
                    </a:cubicBezTo>
                    <a:lnTo>
                      <a:pt x="1177593" y="1023964"/>
                    </a:lnTo>
                    <a:cubicBezTo>
                      <a:pt x="1095503" y="996726"/>
                      <a:pt x="1007990" y="990124"/>
                      <a:pt x="922711" y="1004676"/>
                    </a:cubicBezTo>
                    <a:cubicBezTo>
                      <a:pt x="844236" y="887801"/>
                      <a:pt x="722048" y="807401"/>
                      <a:pt x="583644" y="781632"/>
                    </a:cubicBezTo>
                    <a:lnTo>
                      <a:pt x="782955" y="467996"/>
                    </a:lnTo>
                    <a:cubicBezTo>
                      <a:pt x="859651" y="347616"/>
                      <a:pt x="969950" y="252351"/>
                      <a:pt x="1100235" y="194002"/>
                    </a:cubicBezTo>
                    <a:lnTo>
                      <a:pt x="1103909" y="197676"/>
                    </a:lnTo>
                    <a:lnTo>
                      <a:pt x="1103909" y="197647"/>
                    </a:lnTo>
                    <a:cubicBezTo>
                      <a:pt x="1156808" y="250144"/>
                      <a:pt x="1193920" y="316418"/>
                      <a:pt x="1211026" y="388948"/>
                    </a:cubicBezTo>
                    <a:cubicBezTo>
                      <a:pt x="1228161" y="461480"/>
                      <a:pt x="1224603" y="537368"/>
                      <a:pt x="1200779" y="607981"/>
                    </a:cubicBezTo>
                    <a:lnTo>
                      <a:pt x="1322938" y="648681"/>
                    </a:lnTo>
                    <a:cubicBezTo>
                      <a:pt x="1380343" y="477498"/>
                      <a:pt x="1345871" y="288864"/>
                      <a:pt x="1231663" y="149056"/>
                    </a:cubicBezTo>
                    <a:cubicBezTo>
                      <a:pt x="1287461" y="135595"/>
                      <a:pt x="1344636" y="128678"/>
                      <a:pt x="1402045" y="128476"/>
                    </a:cubicBezTo>
                    <a:lnTo>
                      <a:pt x="1412407" y="128476"/>
                    </a:lnTo>
                    <a:lnTo>
                      <a:pt x="1412378" y="128476"/>
                    </a:lnTo>
                    <a:cubicBezTo>
                      <a:pt x="1498370" y="128103"/>
                      <a:pt x="1580945" y="162001"/>
                      <a:pt x="1641851" y="222676"/>
                    </a:cubicBezTo>
                    <a:cubicBezTo>
                      <a:pt x="1701983" y="282320"/>
                      <a:pt x="1735852" y="363490"/>
                      <a:pt x="1735911" y="448218"/>
                    </a:cubicBezTo>
                    <a:lnTo>
                      <a:pt x="1735911" y="1396165"/>
                    </a:lnTo>
                    <a:cubicBezTo>
                      <a:pt x="1601695" y="1392721"/>
                      <a:pt x="1478281" y="1321886"/>
                      <a:pt x="1407638" y="1207730"/>
                    </a:cubicBezTo>
                    <a:cubicBezTo>
                      <a:pt x="1388867" y="1177534"/>
                      <a:pt x="1349200" y="1168264"/>
                      <a:pt x="1319031" y="1187007"/>
                    </a:cubicBezTo>
                    <a:cubicBezTo>
                      <a:pt x="1288835" y="1205778"/>
                      <a:pt x="1279565" y="1245445"/>
                      <a:pt x="1298336" y="1275614"/>
                    </a:cubicBezTo>
                    <a:cubicBezTo>
                      <a:pt x="1392367" y="1427627"/>
                      <a:pt x="1557179" y="1521452"/>
                      <a:pt x="1735908" y="1524692"/>
                    </a:cubicBezTo>
                    <a:lnTo>
                      <a:pt x="1735908" y="2032613"/>
                    </a:lnTo>
                    <a:cubicBezTo>
                      <a:pt x="1595667" y="2009679"/>
                      <a:pt x="1452127" y="2044639"/>
                      <a:pt x="1338117" y="2129516"/>
                    </a:cubicBezTo>
                    <a:cubicBezTo>
                      <a:pt x="1289667" y="2075699"/>
                      <a:pt x="1230714" y="2032385"/>
                      <a:pt x="1164928" y="2002193"/>
                    </a:cubicBezTo>
                    <a:lnTo>
                      <a:pt x="1134073" y="1988042"/>
                    </a:lnTo>
                    <a:lnTo>
                      <a:pt x="1080112" y="2105005"/>
                    </a:lnTo>
                    <a:lnTo>
                      <a:pt x="1110967" y="2119156"/>
                    </a:lnTo>
                    <a:cubicBezTo>
                      <a:pt x="1178820" y="2150011"/>
                      <a:pt x="1236652" y="2199233"/>
                      <a:pt x="1277933" y="2261293"/>
                    </a:cubicBezTo>
                    <a:cubicBezTo>
                      <a:pt x="1319207" y="2323348"/>
                      <a:pt x="1342284" y="2395707"/>
                      <a:pt x="1344551" y="2470192"/>
                    </a:cubicBezTo>
                    <a:lnTo>
                      <a:pt x="1473139" y="2465829"/>
                    </a:lnTo>
                    <a:cubicBezTo>
                      <a:pt x="1470297" y="2385319"/>
                      <a:pt x="1449058" y="2306528"/>
                      <a:pt x="1411113" y="2235459"/>
                    </a:cubicBezTo>
                    <a:cubicBezTo>
                      <a:pt x="1503622" y="2165081"/>
                      <a:pt x="1622305" y="2138762"/>
                      <a:pt x="1735910" y="2163445"/>
                    </a:cubicBezTo>
                    <a:lnTo>
                      <a:pt x="1735910" y="3065468"/>
                    </a:lnTo>
                    <a:cubicBezTo>
                      <a:pt x="1641938" y="2999078"/>
                      <a:pt x="1528737" y="2965412"/>
                      <a:pt x="1413721" y="2969688"/>
                    </a:cubicBezTo>
                    <a:cubicBezTo>
                      <a:pt x="1415443" y="2903012"/>
                      <a:pt x="1404536" y="2836596"/>
                      <a:pt x="1381574" y="2773963"/>
                    </a:cubicBezTo>
                    <a:lnTo>
                      <a:pt x="1369806" y="2742132"/>
                    </a:lnTo>
                    <a:lnTo>
                      <a:pt x="1249257" y="2787138"/>
                    </a:lnTo>
                    <a:lnTo>
                      <a:pt x="1261025" y="2819285"/>
                    </a:lnTo>
                    <a:cubicBezTo>
                      <a:pt x="1287202" y="2889061"/>
                      <a:pt x="1293315" y="2964750"/>
                      <a:pt x="1278620" y="3037796"/>
                    </a:cubicBezTo>
                    <a:cubicBezTo>
                      <a:pt x="1263953" y="3110843"/>
                      <a:pt x="1229108" y="3178323"/>
                      <a:pt x="1178042" y="3232573"/>
                    </a:cubicBezTo>
                    <a:lnTo>
                      <a:pt x="1271984" y="3320401"/>
                    </a:lnTo>
                    <a:lnTo>
                      <a:pt x="1271956" y="3320401"/>
                    </a:lnTo>
                    <a:cubicBezTo>
                      <a:pt x="1329935" y="3258116"/>
                      <a:pt x="1372012" y="3182717"/>
                      <a:pt x="1394577" y="3100656"/>
                    </a:cubicBezTo>
                    <a:cubicBezTo>
                      <a:pt x="1524112" y="3087855"/>
                      <a:pt x="1651664" y="3139462"/>
                      <a:pt x="1735907" y="3238686"/>
                    </a:cubicBezTo>
                    <a:lnTo>
                      <a:pt x="1735907" y="3408091"/>
                    </a:lnTo>
                    <a:cubicBezTo>
                      <a:pt x="1735735" y="3493252"/>
                      <a:pt x="1701780" y="3574850"/>
                      <a:pt x="1641531" y="3635015"/>
                    </a:cubicBezTo>
                    <a:cubicBezTo>
                      <a:pt x="1581256" y="3695146"/>
                      <a:pt x="1499600" y="3728928"/>
                      <a:pt x="1414438" y="3728928"/>
                    </a:cubicBezTo>
                    <a:close/>
                  </a:path>
                </a:pathLst>
              </a:custGeom>
              <a:grpFill/>
              <a:ln w="7348" cap="flat">
                <a:solidFill>
                  <a:srgbClr val="0414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CB6F2C99-E4EC-7AE1-5F21-97B7BD4EA9CB}"/>
                  </a:ext>
                </a:extLst>
              </p:cNvPr>
              <p:cNvSpPr/>
              <p:nvPr/>
            </p:nvSpPr>
            <p:spPr>
              <a:xfrm>
                <a:off x="-4688635" y="1711747"/>
                <a:ext cx="820691" cy="417208"/>
              </a:xfrm>
              <a:custGeom>
                <a:avLst/>
                <a:gdLst>
                  <a:gd name="connsiteX0" fmla="*/ 816384 w 820691"/>
                  <a:gd name="connsiteY0" fmla="*/ 24184 h 417208"/>
                  <a:gd name="connsiteX1" fmla="*/ 540237 w 820691"/>
                  <a:gd name="connsiteY1" fmla="*/ 112388 h 417208"/>
                  <a:gd name="connsiteX2" fmla="*/ 31831 w 820691"/>
                  <a:gd name="connsiteY2" fmla="*/ 33200 h 417208"/>
                  <a:gd name="connsiteX3" fmla="*/ 0 w 820691"/>
                  <a:gd name="connsiteY3" fmla="*/ 44968 h 417208"/>
                  <a:gd name="connsiteX4" fmla="*/ 45006 w 820691"/>
                  <a:gd name="connsiteY4" fmla="*/ 165517 h 417208"/>
                  <a:gd name="connsiteX5" fmla="*/ 76837 w 820691"/>
                  <a:gd name="connsiteY5" fmla="*/ 153749 h 417208"/>
                  <a:gd name="connsiteX6" fmla="*/ 442018 w 820691"/>
                  <a:gd name="connsiteY6" fmla="*/ 198754 h 417208"/>
                  <a:gd name="connsiteX7" fmla="*/ 352837 w 820691"/>
                  <a:gd name="connsiteY7" fmla="*/ 332794 h 417208"/>
                  <a:gd name="connsiteX8" fmla="*/ 338686 w 820691"/>
                  <a:gd name="connsiteY8" fmla="*/ 363649 h 417208"/>
                  <a:gd name="connsiteX9" fmla="*/ 455649 w 820691"/>
                  <a:gd name="connsiteY9" fmla="*/ 417208 h 417208"/>
                  <a:gd name="connsiteX10" fmla="*/ 469743 w 820691"/>
                  <a:gd name="connsiteY10" fmla="*/ 386411 h 417208"/>
                  <a:gd name="connsiteX11" fmla="*/ 469714 w 820691"/>
                  <a:gd name="connsiteY11" fmla="*/ 386411 h 417208"/>
                  <a:gd name="connsiteX12" fmla="*/ 611792 w 820691"/>
                  <a:gd name="connsiteY12" fmla="*/ 219394 h 417208"/>
                  <a:gd name="connsiteX13" fmla="*/ 820692 w 820691"/>
                  <a:gd name="connsiteY13" fmla="*/ 152775 h 417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820691" h="417208">
                    <a:moveTo>
                      <a:pt x="816384" y="24184"/>
                    </a:moveTo>
                    <a:cubicBezTo>
                      <a:pt x="717937" y="27284"/>
                      <a:pt x="622268" y="57823"/>
                      <a:pt x="540237" y="112388"/>
                    </a:cubicBezTo>
                    <a:cubicBezTo>
                      <a:pt x="396204" y="-902"/>
                      <a:pt x="203499" y="-30925"/>
                      <a:pt x="31831" y="33200"/>
                    </a:cubicBezTo>
                    <a:lnTo>
                      <a:pt x="0" y="44968"/>
                    </a:lnTo>
                    <a:lnTo>
                      <a:pt x="45006" y="165517"/>
                    </a:lnTo>
                    <a:lnTo>
                      <a:pt x="76837" y="153749"/>
                    </a:lnTo>
                    <a:cubicBezTo>
                      <a:pt x="198591" y="108141"/>
                      <a:pt x="334960" y="124960"/>
                      <a:pt x="442018" y="198754"/>
                    </a:cubicBezTo>
                    <a:cubicBezTo>
                      <a:pt x="405680" y="238680"/>
                      <a:pt x="375628" y="283857"/>
                      <a:pt x="352837" y="332794"/>
                    </a:cubicBezTo>
                    <a:lnTo>
                      <a:pt x="338686" y="363649"/>
                    </a:lnTo>
                    <a:lnTo>
                      <a:pt x="455649" y="417208"/>
                    </a:lnTo>
                    <a:lnTo>
                      <a:pt x="469743" y="386411"/>
                    </a:lnTo>
                    <a:lnTo>
                      <a:pt x="469714" y="386411"/>
                    </a:lnTo>
                    <a:cubicBezTo>
                      <a:pt x="500540" y="318558"/>
                      <a:pt x="549740" y="260696"/>
                      <a:pt x="611792" y="219394"/>
                    </a:cubicBezTo>
                    <a:cubicBezTo>
                      <a:pt x="673818" y="178091"/>
                      <a:pt x="746207" y="155014"/>
                      <a:pt x="820692" y="152775"/>
                    </a:cubicBezTo>
                    <a:close/>
                  </a:path>
                </a:pathLst>
              </a:custGeom>
              <a:grpFill/>
              <a:ln w="7348" cap="flat">
                <a:solidFill>
                  <a:srgbClr val="0414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0FA50582-4290-AF99-DCE3-733079E9D334}"/>
                  </a:ext>
                </a:extLst>
              </p:cNvPr>
              <p:cNvSpPr/>
              <p:nvPr/>
            </p:nvSpPr>
            <p:spPr>
              <a:xfrm>
                <a:off x="-2928619" y="3041865"/>
                <a:ext cx="678182" cy="578010"/>
              </a:xfrm>
              <a:custGeom>
                <a:avLst/>
                <a:gdLst>
                  <a:gd name="connsiteX0" fmla="*/ 584501 w 678182"/>
                  <a:gd name="connsiteY0" fmla="*/ 0 h 578010"/>
                  <a:gd name="connsiteX1" fmla="*/ 470323 w 678182"/>
                  <a:gd name="connsiteY1" fmla="*/ 188950 h 578010"/>
                  <a:gd name="connsiteX2" fmla="*/ 451034 w 678182"/>
                  <a:gd name="connsiteY2" fmla="*/ 208238 h 578010"/>
                  <a:gd name="connsiteX3" fmla="*/ 259733 w 678182"/>
                  <a:gd name="connsiteY3" fmla="*/ 315355 h 578010"/>
                  <a:gd name="connsiteX4" fmla="*/ 40701 w 678182"/>
                  <a:gd name="connsiteY4" fmla="*/ 305080 h 578010"/>
                  <a:gd name="connsiteX5" fmla="*/ 0 w 678182"/>
                  <a:gd name="connsiteY5" fmla="*/ 427238 h 578010"/>
                  <a:gd name="connsiteX6" fmla="*/ 168714 w 678182"/>
                  <a:gd name="connsiteY6" fmla="*/ 454735 h 578010"/>
                  <a:gd name="connsiteX7" fmla="*/ 442481 w 678182"/>
                  <a:gd name="connsiteY7" fmla="*/ 376951 h 578010"/>
                  <a:gd name="connsiteX8" fmla="*/ 474628 w 678182"/>
                  <a:gd name="connsiteY8" fmla="*/ 546179 h 578010"/>
                  <a:gd name="connsiteX9" fmla="*/ 486453 w 678182"/>
                  <a:gd name="connsiteY9" fmla="*/ 578010 h 578010"/>
                  <a:gd name="connsiteX10" fmla="*/ 607002 w 678182"/>
                  <a:gd name="connsiteY10" fmla="*/ 533005 h 578010"/>
                  <a:gd name="connsiteX11" fmla="*/ 595176 w 678182"/>
                  <a:gd name="connsiteY11" fmla="*/ 501174 h 578010"/>
                  <a:gd name="connsiteX12" fmla="*/ 577554 w 678182"/>
                  <a:gd name="connsiteY12" fmla="*/ 282634 h 578010"/>
                  <a:gd name="connsiteX13" fmla="*/ 678182 w 678182"/>
                  <a:gd name="connsiteY13" fmla="*/ 87827 h 578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78182" h="578010">
                    <a:moveTo>
                      <a:pt x="584501" y="0"/>
                    </a:moveTo>
                    <a:cubicBezTo>
                      <a:pt x="533611" y="54276"/>
                      <a:pt x="494717" y="118653"/>
                      <a:pt x="470323" y="188950"/>
                    </a:cubicBezTo>
                    <a:lnTo>
                      <a:pt x="451034" y="208238"/>
                    </a:lnTo>
                    <a:cubicBezTo>
                      <a:pt x="398538" y="261137"/>
                      <a:pt x="332264" y="298220"/>
                      <a:pt x="259733" y="315355"/>
                    </a:cubicBezTo>
                    <a:cubicBezTo>
                      <a:pt x="187202" y="332462"/>
                      <a:pt x="111313" y="328903"/>
                      <a:pt x="40701" y="305080"/>
                    </a:cubicBezTo>
                    <a:lnTo>
                      <a:pt x="0" y="427238"/>
                    </a:lnTo>
                    <a:cubicBezTo>
                      <a:pt x="54391" y="445407"/>
                      <a:pt x="111364" y="454707"/>
                      <a:pt x="168714" y="454735"/>
                    </a:cubicBezTo>
                    <a:cubicBezTo>
                      <a:pt x="265412" y="454563"/>
                      <a:pt x="360163" y="427640"/>
                      <a:pt x="442481" y="376951"/>
                    </a:cubicBezTo>
                    <a:cubicBezTo>
                      <a:pt x="443945" y="434729"/>
                      <a:pt x="454794" y="491879"/>
                      <a:pt x="474628" y="546179"/>
                    </a:cubicBezTo>
                    <a:lnTo>
                      <a:pt x="486453" y="578010"/>
                    </a:lnTo>
                    <a:lnTo>
                      <a:pt x="607002" y="533005"/>
                    </a:lnTo>
                    <a:lnTo>
                      <a:pt x="595176" y="501174"/>
                    </a:lnTo>
                    <a:cubicBezTo>
                      <a:pt x="569000" y="431398"/>
                      <a:pt x="562886" y="355679"/>
                      <a:pt x="577554" y="282634"/>
                    </a:cubicBezTo>
                    <a:cubicBezTo>
                      <a:pt x="592249" y="209557"/>
                      <a:pt x="627094" y="142077"/>
                      <a:pt x="678182" y="87827"/>
                    </a:cubicBezTo>
                    <a:close/>
                  </a:path>
                </a:pathLst>
              </a:custGeom>
              <a:grpFill/>
              <a:ln w="7348" cap="flat">
                <a:solidFill>
                  <a:srgbClr val="0414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E65FEF27-31E5-B922-34BA-6E6BD10719B4}"/>
                  </a:ext>
                </a:extLst>
              </p:cNvPr>
              <p:cNvSpPr/>
              <p:nvPr/>
            </p:nvSpPr>
            <p:spPr>
              <a:xfrm>
                <a:off x="-2552653" y="128609"/>
                <a:ext cx="1285874" cy="1735857"/>
              </a:xfrm>
              <a:custGeom>
                <a:avLst/>
                <a:gdLst>
                  <a:gd name="connsiteX0" fmla="*/ 1281764 w 1285874"/>
                  <a:gd name="connsiteY0" fmla="*/ 748872 h 1735857"/>
                  <a:gd name="connsiteX1" fmla="*/ 1221574 w 1285874"/>
                  <a:gd name="connsiteY1" fmla="*/ 707195 h 1735857"/>
                  <a:gd name="connsiteX2" fmla="*/ 871376 w 1285874"/>
                  <a:gd name="connsiteY2" fmla="*/ 707195 h 1735857"/>
                  <a:gd name="connsiteX3" fmla="*/ 1151483 w 1285874"/>
                  <a:gd name="connsiteY3" fmla="*/ 90865 h 1735857"/>
                  <a:gd name="connsiteX4" fmla="*/ 1131305 w 1285874"/>
                  <a:gd name="connsiteY4" fmla="*/ 12705 h 1735857"/>
                  <a:gd name="connsiteX5" fmla="*/ 1050626 w 1285874"/>
                  <a:gd name="connsiteY5" fmla="*/ 15920 h 1735857"/>
                  <a:gd name="connsiteX6" fmla="*/ 21926 w 1285874"/>
                  <a:gd name="connsiteY6" fmla="*/ 916033 h 1735857"/>
                  <a:gd name="connsiteX7" fmla="*/ 4130 w 1285874"/>
                  <a:gd name="connsiteY7" fmla="*/ 987014 h 1735857"/>
                  <a:gd name="connsiteX8" fmla="*/ 64291 w 1285874"/>
                  <a:gd name="connsiteY8" fmla="*/ 1028662 h 1735857"/>
                  <a:gd name="connsiteX9" fmla="*/ 414489 w 1285874"/>
                  <a:gd name="connsiteY9" fmla="*/ 1028662 h 1735857"/>
                  <a:gd name="connsiteX10" fmla="*/ 134382 w 1285874"/>
                  <a:gd name="connsiteY10" fmla="*/ 1644993 h 1735857"/>
                  <a:gd name="connsiteX11" fmla="*/ 154560 w 1285874"/>
                  <a:gd name="connsiteY11" fmla="*/ 1723152 h 1735857"/>
                  <a:gd name="connsiteX12" fmla="*/ 235239 w 1285874"/>
                  <a:gd name="connsiteY12" fmla="*/ 1719937 h 1735857"/>
                  <a:gd name="connsiteX13" fmla="*/ 1263939 w 1285874"/>
                  <a:gd name="connsiteY13" fmla="*/ 819825 h 1735857"/>
                  <a:gd name="connsiteX14" fmla="*/ 1281764 w 1285874"/>
                  <a:gd name="connsiteY14" fmla="*/ 748872 h 1735857"/>
                  <a:gd name="connsiteX15" fmla="*/ 374597 w 1285874"/>
                  <a:gd name="connsiteY15" fmla="*/ 1427285 h 1735857"/>
                  <a:gd name="connsiteX16" fmla="*/ 572820 w 1285874"/>
                  <a:gd name="connsiteY16" fmla="*/ 991123 h 1735857"/>
                  <a:gd name="connsiteX17" fmla="*/ 568457 w 1285874"/>
                  <a:gd name="connsiteY17" fmla="*/ 929614 h 1735857"/>
                  <a:gd name="connsiteX18" fmla="*/ 514324 w 1285874"/>
                  <a:gd name="connsiteY18" fmla="*/ 900079 h 1735857"/>
                  <a:gd name="connsiteX19" fmla="*/ 235422 w 1285874"/>
                  <a:gd name="connsiteY19" fmla="*/ 900079 h 1735857"/>
                  <a:gd name="connsiteX20" fmla="*/ 911226 w 1285874"/>
                  <a:gd name="connsiteY20" fmla="*/ 308576 h 1735857"/>
                  <a:gd name="connsiteX21" fmla="*/ 713003 w 1285874"/>
                  <a:gd name="connsiteY21" fmla="*/ 744885 h 1735857"/>
                  <a:gd name="connsiteX22" fmla="*/ 717452 w 1285874"/>
                  <a:gd name="connsiteY22" fmla="*/ 806280 h 1735857"/>
                  <a:gd name="connsiteX23" fmla="*/ 771499 w 1285874"/>
                  <a:gd name="connsiteY23" fmla="*/ 835786 h 1735857"/>
                  <a:gd name="connsiteX24" fmla="*/ 1050402 w 1285874"/>
                  <a:gd name="connsiteY24" fmla="*/ 835786 h 1735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285874" h="1735857">
                    <a:moveTo>
                      <a:pt x="1281764" y="748872"/>
                    </a:moveTo>
                    <a:cubicBezTo>
                      <a:pt x="1272320" y="723785"/>
                      <a:pt x="1248354" y="707195"/>
                      <a:pt x="1221574" y="707195"/>
                    </a:cubicBezTo>
                    <a:lnTo>
                      <a:pt x="871376" y="707195"/>
                    </a:lnTo>
                    <a:lnTo>
                      <a:pt x="1151483" y="90865"/>
                    </a:lnTo>
                    <a:cubicBezTo>
                      <a:pt x="1163997" y="63310"/>
                      <a:pt x="1155588" y="30761"/>
                      <a:pt x="1131305" y="12705"/>
                    </a:cubicBezTo>
                    <a:cubicBezTo>
                      <a:pt x="1106994" y="-5377"/>
                      <a:pt x="1073412" y="-4028"/>
                      <a:pt x="1050626" y="15920"/>
                    </a:cubicBezTo>
                    <a:lnTo>
                      <a:pt x="21926" y="916033"/>
                    </a:lnTo>
                    <a:cubicBezTo>
                      <a:pt x="1776" y="933656"/>
                      <a:pt x="-5313" y="961957"/>
                      <a:pt x="4130" y="987014"/>
                    </a:cubicBezTo>
                    <a:cubicBezTo>
                      <a:pt x="13544" y="1012072"/>
                      <a:pt x="37511" y="1028662"/>
                      <a:pt x="64291" y="1028662"/>
                    </a:cubicBezTo>
                    <a:lnTo>
                      <a:pt x="414489" y="1028662"/>
                    </a:lnTo>
                    <a:lnTo>
                      <a:pt x="134382" y="1644993"/>
                    </a:lnTo>
                    <a:cubicBezTo>
                      <a:pt x="121867" y="1672547"/>
                      <a:pt x="130277" y="1705096"/>
                      <a:pt x="154560" y="1723152"/>
                    </a:cubicBezTo>
                    <a:cubicBezTo>
                      <a:pt x="178871" y="1741234"/>
                      <a:pt x="212453" y="1739885"/>
                      <a:pt x="235239" y="1719937"/>
                    </a:cubicBezTo>
                    <a:lnTo>
                      <a:pt x="1263939" y="819825"/>
                    </a:lnTo>
                    <a:cubicBezTo>
                      <a:pt x="1284089" y="802202"/>
                      <a:pt x="1291178" y="773929"/>
                      <a:pt x="1281764" y="748872"/>
                    </a:cubicBezTo>
                    <a:close/>
                    <a:moveTo>
                      <a:pt x="374597" y="1427285"/>
                    </a:moveTo>
                    <a:lnTo>
                      <a:pt x="572820" y="991123"/>
                    </a:lnTo>
                    <a:cubicBezTo>
                      <a:pt x="581948" y="971204"/>
                      <a:pt x="580283" y="948041"/>
                      <a:pt x="568457" y="929614"/>
                    </a:cubicBezTo>
                    <a:cubicBezTo>
                      <a:pt x="556603" y="911187"/>
                      <a:pt x="536225" y="900079"/>
                      <a:pt x="514324" y="900079"/>
                    </a:cubicBezTo>
                    <a:lnTo>
                      <a:pt x="235422" y="900079"/>
                    </a:lnTo>
                    <a:lnTo>
                      <a:pt x="911226" y="308576"/>
                    </a:lnTo>
                    <a:lnTo>
                      <a:pt x="713003" y="744885"/>
                    </a:lnTo>
                    <a:cubicBezTo>
                      <a:pt x="703933" y="764775"/>
                      <a:pt x="705626" y="787910"/>
                      <a:pt x="717452" y="806280"/>
                    </a:cubicBezTo>
                    <a:cubicBezTo>
                      <a:pt x="729278" y="824678"/>
                      <a:pt x="749627" y="835786"/>
                      <a:pt x="771499" y="835786"/>
                    </a:cubicBezTo>
                    <a:lnTo>
                      <a:pt x="1050402" y="835786"/>
                    </a:lnTo>
                    <a:close/>
                  </a:path>
                </a:pathLst>
              </a:custGeom>
              <a:grpFill/>
              <a:ln w="7348" cap="flat">
                <a:solidFill>
                  <a:srgbClr val="0414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5184F355-30FC-297E-CE06-9FE80543D5CE}"/>
              </a:ext>
            </a:extLst>
          </p:cNvPr>
          <p:cNvGrpSpPr/>
          <p:nvPr/>
        </p:nvGrpSpPr>
        <p:grpSpPr>
          <a:xfrm>
            <a:off x="980621" y="1125893"/>
            <a:ext cx="563181" cy="720363"/>
            <a:chOff x="-4607717" y="241075"/>
            <a:chExt cx="2840003" cy="3632643"/>
          </a:xfrm>
          <a:solidFill>
            <a:srgbClr val="04143F"/>
          </a:solidFill>
        </p:grpSpPr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C23EAAAC-45FD-014E-3E8B-072E84527EF3}"/>
                </a:ext>
              </a:extLst>
            </p:cNvPr>
            <p:cNvSpPr/>
            <p:nvPr/>
          </p:nvSpPr>
          <p:spPr>
            <a:xfrm>
              <a:off x="-4607717" y="1763676"/>
              <a:ext cx="1519139" cy="2110040"/>
            </a:xfrm>
            <a:custGeom>
              <a:avLst/>
              <a:gdLst>
                <a:gd name="connsiteX0" fmla="*/ 178670 w 1519139"/>
                <a:gd name="connsiteY0" fmla="*/ 63662 h 2110040"/>
                <a:gd name="connsiteX1" fmla="*/ 63743 w 1519139"/>
                <a:gd name="connsiteY1" fmla="*/ 178671 h 2110040"/>
                <a:gd name="connsiteX2" fmla="*/ 63743 w 1519139"/>
                <a:gd name="connsiteY2" fmla="*/ 1931428 h 2110040"/>
                <a:gd name="connsiteX3" fmla="*/ 178670 w 1519139"/>
                <a:gd name="connsiteY3" fmla="*/ 2046356 h 2110040"/>
                <a:gd name="connsiteX4" fmla="*/ 1340440 w 1519139"/>
                <a:gd name="connsiteY4" fmla="*/ 2046356 h 2110040"/>
                <a:gd name="connsiteX5" fmla="*/ 1455419 w 1519139"/>
                <a:gd name="connsiteY5" fmla="*/ 1931428 h 2110040"/>
                <a:gd name="connsiteX6" fmla="*/ 1455419 w 1519139"/>
                <a:gd name="connsiteY6" fmla="*/ 178671 h 2110040"/>
                <a:gd name="connsiteX7" fmla="*/ 1340411 w 1519139"/>
                <a:gd name="connsiteY7" fmla="*/ 63662 h 2110040"/>
                <a:gd name="connsiteX8" fmla="*/ 1340440 w 1519139"/>
                <a:gd name="connsiteY8" fmla="*/ 2110040 h 2110040"/>
                <a:gd name="connsiteX9" fmla="*/ 178670 w 1519139"/>
                <a:gd name="connsiteY9" fmla="*/ 2110040 h 2110040"/>
                <a:gd name="connsiteX10" fmla="*/ 0 w 1519139"/>
                <a:gd name="connsiteY10" fmla="*/ 1931399 h 2110040"/>
                <a:gd name="connsiteX11" fmla="*/ 0 w 1519139"/>
                <a:gd name="connsiteY11" fmla="*/ 178641 h 2110040"/>
                <a:gd name="connsiteX12" fmla="*/ 178641 w 1519139"/>
                <a:gd name="connsiteY12" fmla="*/ 0 h 2110040"/>
                <a:gd name="connsiteX13" fmla="*/ 1340411 w 1519139"/>
                <a:gd name="connsiteY13" fmla="*/ 0 h 2110040"/>
                <a:gd name="connsiteX14" fmla="*/ 1519140 w 1519139"/>
                <a:gd name="connsiteY14" fmla="*/ 178641 h 2110040"/>
                <a:gd name="connsiteX15" fmla="*/ 1519140 w 1519139"/>
                <a:gd name="connsiteY15" fmla="*/ 1931399 h 2110040"/>
                <a:gd name="connsiteX16" fmla="*/ 1340411 w 1519139"/>
                <a:gd name="connsiteY16" fmla="*/ 2110040 h 2110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19139" h="2110040">
                  <a:moveTo>
                    <a:pt x="178670" y="63662"/>
                  </a:moveTo>
                  <a:cubicBezTo>
                    <a:pt x="115267" y="63662"/>
                    <a:pt x="63743" y="115269"/>
                    <a:pt x="63743" y="178671"/>
                  </a:cubicBezTo>
                  <a:lnTo>
                    <a:pt x="63743" y="1931428"/>
                  </a:lnTo>
                  <a:cubicBezTo>
                    <a:pt x="63743" y="1994746"/>
                    <a:pt x="115264" y="2046356"/>
                    <a:pt x="178670" y="2046356"/>
                  </a:cubicBezTo>
                  <a:lnTo>
                    <a:pt x="1340440" y="2046356"/>
                  </a:lnTo>
                  <a:cubicBezTo>
                    <a:pt x="1403816" y="2046356"/>
                    <a:pt x="1455419" y="1994749"/>
                    <a:pt x="1455419" y="1931428"/>
                  </a:cubicBezTo>
                  <a:lnTo>
                    <a:pt x="1455419" y="178671"/>
                  </a:lnTo>
                  <a:cubicBezTo>
                    <a:pt x="1455419" y="115267"/>
                    <a:pt x="1403784" y="63662"/>
                    <a:pt x="1340411" y="63662"/>
                  </a:cubicBezTo>
                  <a:close/>
                  <a:moveTo>
                    <a:pt x="1340440" y="2110040"/>
                  </a:moveTo>
                  <a:lnTo>
                    <a:pt x="178670" y="2110040"/>
                  </a:lnTo>
                  <a:cubicBezTo>
                    <a:pt x="80165" y="2110040"/>
                    <a:pt x="0" y="2029875"/>
                    <a:pt x="0" y="1931399"/>
                  </a:cubicBezTo>
                  <a:lnTo>
                    <a:pt x="0" y="178641"/>
                  </a:lnTo>
                  <a:cubicBezTo>
                    <a:pt x="0" y="80136"/>
                    <a:pt x="80136" y="0"/>
                    <a:pt x="178641" y="0"/>
                  </a:cubicBezTo>
                  <a:lnTo>
                    <a:pt x="1340411" y="0"/>
                  </a:lnTo>
                  <a:cubicBezTo>
                    <a:pt x="1438975" y="0"/>
                    <a:pt x="1519140" y="80165"/>
                    <a:pt x="1519140" y="178641"/>
                  </a:cubicBezTo>
                  <a:lnTo>
                    <a:pt x="1519140" y="1931399"/>
                  </a:lnTo>
                  <a:cubicBezTo>
                    <a:pt x="1519140" y="2029875"/>
                    <a:pt x="1438975" y="2110040"/>
                    <a:pt x="1340411" y="2110040"/>
                  </a:cubicBezTo>
                  <a:close/>
                </a:path>
              </a:pathLst>
            </a:custGeom>
            <a:grpFill/>
            <a:ln w="7348" cap="flat">
              <a:solidFill>
                <a:srgbClr val="0414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2389CFA1-E4CF-82B5-300F-D70BE3C941E8}"/>
                </a:ext>
              </a:extLst>
            </p:cNvPr>
            <p:cNvSpPr/>
            <p:nvPr/>
          </p:nvSpPr>
          <p:spPr>
            <a:xfrm>
              <a:off x="-4337046" y="1540447"/>
              <a:ext cx="977827" cy="286965"/>
            </a:xfrm>
            <a:custGeom>
              <a:avLst/>
              <a:gdLst>
                <a:gd name="connsiteX0" fmla="*/ 884750 w 977827"/>
                <a:gd name="connsiteY0" fmla="*/ 286965 h 286965"/>
                <a:gd name="connsiteX1" fmla="*/ 876283 w 977827"/>
                <a:gd name="connsiteY1" fmla="*/ 285816 h 286965"/>
                <a:gd name="connsiteX2" fmla="*/ 853952 w 977827"/>
                <a:gd name="connsiteY2" fmla="*/ 246638 h 286965"/>
                <a:gd name="connsiteX3" fmla="*/ 915290 w 977827"/>
                <a:gd name="connsiteY3" fmla="*/ 23417 h 286965"/>
                <a:gd name="connsiteX4" fmla="*/ 954440 w 977827"/>
                <a:gd name="connsiteY4" fmla="*/ 1173 h 286965"/>
                <a:gd name="connsiteX5" fmla="*/ 976684 w 977827"/>
                <a:gd name="connsiteY5" fmla="*/ 40352 h 286965"/>
                <a:gd name="connsiteX6" fmla="*/ 915462 w 977827"/>
                <a:gd name="connsiteY6" fmla="*/ 263455 h 286965"/>
                <a:gd name="connsiteX7" fmla="*/ 884779 w 977827"/>
                <a:gd name="connsiteY7" fmla="*/ 286933 h 286965"/>
                <a:gd name="connsiteX8" fmla="*/ 93165 w 977827"/>
                <a:gd name="connsiteY8" fmla="*/ 286965 h 286965"/>
                <a:gd name="connsiteX9" fmla="*/ 62454 w 977827"/>
                <a:gd name="connsiteY9" fmla="*/ 263486 h 286965"/>
                <a:gd name="connsiteX10" fmla="*/ 1145 w 977827"/>
                <a:gd name="connsiteY10" fmla="*/ 40354 h 286965"/>
                <a:gd name="connsiteX11" fmla="*/ 23447 w 977827"/>
                <a:gd name="connsiteY11" fmla="*/ 1203 h 286965"/>
                <a:gd name="connsiteX12" fmla="*/ 62626 w 977827"/>
                <a:gd name="connsiteY12" fmla="*/ 23448 h 286965"/>
                <a:gd name="connsiteX13" fmla="*/ 123877 w 977827"/>
                <a:gd name="connsiteY13" fmla="*/ 246639 h 286965"/>
                <a:gd name="connsiteX14" fmla="*/ 101632 w 977827"/>
                <a:gd name="connsiteY14" fmla="*/ 285818 h 286965"/>
                <a:gd name="connsiteX15" fmla="*/ 93194 w 977827"/>
                <a:gd name="connsiteY15" fmla="*/ 286966 h 286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7827" h="286965">
                  <a:moveTo>
                    <a:pt x="884750" y="286965"/>
                  </a:moveTo>
                  <a:cubicBezTo>
                    <a:pt x="881908" y="286965"/>
                    <a:pt x="879096" y="286563"/>
                    <a:pt x="876283" y="285816"/>
                  </a:cubicBezTo>
                  <a:cubicBezTo>
                    <a:pt x="859291" y="281167"/>
                    <a:pt x="849303" y="263572"/>
                    <a:pt x="853952" y="246638"/>
                  </a:cubicBezTo>
                  <a:lnTo>
                    <a:pt x="915290" y="23417"/>
                  </a:lnTo>
                  <a:cubicBezTo>
                    <a:pt x="919940" y="6482"/>
                    <a:pt x="937448" y="-3564"/>
                    <a:pt x="954440" y="1173"/>
                  </a:cubicBezTo>
                  <a:cubicBezTo>
                    <a:pt x="971375" y="5823"/>
                    <a:pt x="981335" y="23331"/>
                    <a:pt x="976684" y="40352"/>
                  </a:cubicBezTo>
                  <a:lnTo>
                    <a:pt x="915462" y="263455"/>
                  </a:lnTo>
                  <a:cubicBezTo>
                    <a:pt x="911558" y="277634"/>
                    <a:pt x="898700" y="286933"/>
                    <a:pt x="884779" y="286933"/>
                  </a:cubicBezTo>
                  <a:close/>
                  <a:moveTo>
                    <a:pt x="93165" y="286965"/>
                  </a:moveTo>
                  <a:cubicBezTo>
                    <a:pt x="79130" y="286965"/>
                    <a:pt x="66358" y="277665"/>
                    <a:pt x="62454" y="263486"/>
                  </a:cubicBezTo>
                  <a:lnTo>
                    <a:pt x="1145" y="40354"/>
                  </a:lnTo>
                  <a:cubicBezTo>
                    <a:pt x="-3505" y="23333"/>
                    <a:pt x="6426" y="5853"/>
                    <a:pt x="23447" y="1203"/>
                  </a:cubicBezTo>
                  <a:cubicBezTo>
                    <a:pt x="40467" y="-3446"/>
                    <a:pt x="57976" y="6513"/>
                    <a:pt x="62626" y="23448"/>
                  </a:cubicBezTo>
                  <a:lnTo>
                    <a:pt x="123877" y="246639"/>
                  </a:lnTo>
                  <a:cubicBezTo>
                    <a:pt x="128526" y="263573"/>
                    <a:pt x="118566" y="281168"/>
                    <a:pt x="101632" y="285818"/>
                  </a:cubicBezTo>
                  <a:cubicBezTo>
                    <a:pt x="98820" y="286564"/>
                    <a:pt x="95892" y="286966"/>
                    <a:pt x="93194" y="286966"/>
                  </a:cubicBezTo>
                  <a:close/>
                </a:path>
              </a:pathLst>
            </a:custGeom>
            <a:grpFill/>
            <a:ln w="7348" cap="flat">
              <a:solidFill>
                <a:srgbClr val="0414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B444ED17-5CD4-405F-DED7-31AC4871FB91}"/>
                </a:ext>
              </a:extLst>
            </p:cNvPr>
            <p:cNvSpPr/>
            <p:nvPr/>
          </p:nvSpPr>
          <p:spPr>
            <a:xfrm>
              <a:off x="-4480085" y="1231486"/>
              <a:ext cx="1263831" cy="372734"/>
            </a:xfrm>
            <a:custGeom>
              <a:avLst/>
              <a:gdLst>
                <a:gd name="connsiteX0" fmla="*/ 110850 w 1263831"/>
                <a:gd name="connsiteY0" fmla="*/ 63721 h 372734"/>
                <a:gd name="connsiteX1" fmla="*/ 63720 w 1263831"/>
                <a:gd name="connsiteY1" fmla="*/ 110850 h 372734"/>
                <a:gd name="connsiteX2" fmla="*/ 63720 w 1263831"/>
                <a:gd name="connsiteY2" fmla="*/ 261856 h 372734"/>
                <a:gd name="connsiteX3" fmla="*/ 110850 w 1263831"/>
                <a:gd name="connsiteY3" fmla="*/ 308986 h 372734"/>
                <a:gd name="connsiteX4" fmla="*/ 1153070 w 1263831"/>
                <a:gd name="connsiteY4" fmla="*/ 308986 h 372734"/>
                <a:gd name="connsiteX5" fmla="*/ 1200113 w 1263831"/>
                <a:gd name="connsiteY5" fmla="*/ 261856 h 372734"/>
                <a:gd name="connsiteX6" fmla="*/ 1200113 w 1263831"/>
                <a:gd name="connsiteY6" fmla="*/ 110821 h 372734"/>
                <a:gd name="connsiteX7" fmla="*/ 1153041 w 1263831"/>
                <a:gd name="connsiteY7" fmla="*/ 63691 h 372734"/>
                <a:gd name="connsiteX8" fmla="*/ 110821 w 1263831"/>
                <a:gd name="connsiteY8" fmla="*/ 63691 h 372734"/>
                <a:gd name="connsiteX9" fmla="*/ 1153070 w 1263831"/>
                <a:gd name="connsiteY9" fmla="*/ 372735 h 372734"/>
                <a:gd name="connsiteX10" fmla="*/ 110850 w 1263831"/>
                <a:gd name="connsiteY10" fmla="*/ 372735 h 372734"/>
                <a:gd name="connsiteX11" fmla="*/ 0 w 1263831"/>
                <a:gd name="connsiteY11" fmla="*/ 261885 h 372734"/>
                <a:gd name="connsiteX12" fmla="*/ 0 w 1263831"/>
                <a:gd name="connsiteY12" fmla="*/ 110850 h 372734"/>
                <a:gd name="connsiteX13" fmla="*/ 110850 w 1263831"/>
                <a:gd name="connsiteY13" fmla="*/ 0 h 372734"/>
                <a:gd name="connsiteX14" fmla="*/ 1153070 w 1263831"/>
                <a:gd name="connsiteY14" fmla="*/ 0 h 372734"/>
                <a:gd name="connsiteX15" fmla="*/ 1263832 w 1263831"/>
                <a:gd name="connsiteY15" fmla="*/ 110850 h 372734"/>
                <a:gd name="connsiteX16" fmla="*/ 1263832 w 1263831"/>
                <a:gd name="connsiteY16" fmla="*/ 261856 h 372734"/>
                <a:gd name="connsiteX17" fmla="*/ 1153070 w 1263831"/>
                <a:gd name="connsiteY17" fmla="*/ 372705 h 37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63831" h="372734">
                  <a:moveTo>
                    <a:pt x="110850" y="63721"/>
                  </a:moveTo>
                  <a:cubicBezTo>
                    <a:pt x="84874" y="63721"/>
                    <a:pt x="63720" y="84874"/>
                    <a:pt x="63720" y="110850"/>
                  </a:cubicBezTo>
                  <a:lnTo>
                    <a:pt x="63720" y="261856"/>
                  </a:lnTo>
                  <a:cubicBezTo>
                    <a:pt x="63720" y="287832"/>
                    <a:pt x="84874" y="308986"/>
                    <a:pt x="110850" y="308986"/>
                  </a:cubicBezTo>
                  <a:lnTo>
                    <a:pt x="1153070" y="308986"/>
                  </a:lnTo>
                  <a:cubicBezTo>
                    <a:pt x="1179046" y="308986"/>
                    <a:pt x="1200113" y="287832"/>
                    <a:pt x="1200113" y="261856"/>
                  </a:cubicBezTo>
                  <a:lnTo>
                    <a:pt x="1200113" y="110821"/>
                  </a:lnTo>
                  <a:cubicBezTo>
                    <a:pt x="1200113" y="84845"/>
                    <a:pt x="1179017" y="63691"/>
                    <a:pt x="1153041" y="63691"/>
                  </a:cubicBezTo>
                  <a:lnTo>
                    <a:pt x="110821" y="63691"/>
                  </a:lnTo>
                  <a:close/>
                  <a:moveTo>
                    <a:pt x="1153070" y="372735"/>
                  </a:moveTo>
                  <a:lnTo>
                    <a:pt x="110850" y="372735"/>
                  </a:lnTo>
                  <a:cubicBezTo>
                    <a:pt x="49771" y="372735"/>
                    <a:pt x="0" y="323022"/>
                    <a:pt x="0" y="261885"/>
                  </a:cubicBezTo>
                  <a:lnTo>
                    <a:pt x="0" y="110850"/>
                  </a:lnTo>
                  <a:cubicBezTo>
                    <a:pt x="0" y="49685"/>
                    <a:pt x="49770" y="0"/>
                    <a:pt x="110850" y="0"/>
                  </a:cubicBezTo>
                  <a:lnTo>
                    <a:pt x="1153070" y="0"/>
                  </a:lnTo>
                  <a:cubicBezTo>
                    <a:pt x="1214149" y="0"/>
                    <a:pt x="1263832" y="49713"/>
                    <a:pt x="1263832" y="110850"/>
                  </a:cubicBezTo>
                  <a:lnTo>
                    <a:pt x="1263832" y="261856"/>
                  </a:lnTo>
                  <a:cubicBezTo>
                    <a:pt x="1263832" y="323021"/>
                    <a:pt x="1214119" y="372705"/>
                    <a:pt x="1153070" y="372705"/>
                  </a:cubicBezTo>
                  <a:close/>
                </a:path>
              </a:pathLst>
            </a:custGeom>
            <a:grpFill/>
            <a:ln w="7348" cap="flat">
              <a:solidFill>
                <a:srgbClr val="0414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8A44898A-E0E5-4BAC-96B1-4F4743BA9F79}"/>
                </a:ext>
              </a:extLst>
            </p:cNvPr>
            <p:cNvSpPr/>
            <p:nvPr/>
          </p:nvSpPr>
          <p:spPr>
            <a:xfrm>
              <a:off x="-4607671" y="2292444"/>
              <a:ext cx="1519109" cy="63719"/>
            </a:xfrm>
            <a:custGeom>
              <a:avLst/>
              <a:gdLst>
                <a:gd name="connsiteX0" fmla="*/ 1487278 w 1519109"/>
                <a:gd name="connsiteY0" fmla="*/ 63719 h 63719"/>
                <a:gd name="connsiteX1" fmla="*/ 31888 w 1519109"/>
                <a:gd name="connsiteY1" fmla="*/ 63719 h 63719"/>
                <a:gd name="connsiteX2" fmla="*/ 0 w 1519109"/>
                <a:gd name="connsiteY2" fmla="*/ 31860 h 63719"/>
                <a:gd name="connsiteX3" fmla="*/ 31860 w 1519109"/>
                <a:gd name="connsiteY3" fmla="*/ 0 h 63719"/>
                <a:gd name="connsiteX4" fmla="*/ 1487250 w 1519109"/>
                <a:gd name="connsiteY4" fmla="*/ 0 h 63719"/>
                <a:gd name="connsiteX5" fmla="*/ 1519109 w 1519109"/>
                <a:gd name="connsiteY5" fmla="*/ 31860 h 63719"/>
                <a:gd name="connsiteX6" fmla="*/ 1487250 w 1519109"/>
                <a:gd name="connsiteY6" fmla="*/ 63719 h 63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19109" h="63719">
                  <a:moveTo>
                    <a:pt x="1487278" y="63719"/>
                  </a:moveTo>
                  <a:lnTo>
                    <a:pt x="31888" y="63719"/>
                  </a:lnTo>
                  <a:cubicBezTo>
                    <a:pt x="14294" y="63719"/>
                    <a:pt x="0" y="49454"/>
                    <a:pt x="0" y="31860"/>
                  </a:cubicBezTo>
                  <a:cubicBezTo>
                    <a:pt x="0" y="14265"/>
                    <a:pt x="14265" y="0"/>
                    <a:pt x="31860" y="0"/>
                  </a:cubicBezTo>
                  <a:lnTo>
                    <a:pt x="1487250" y="0"/>
                  </a:lnTo>
                  <a:cubicBezTo>
                    <a:pt x="1504844" y="0"/>
                    <a:pt x="1519109" y="14265"/>
                    <a:pt x="1519109" y="31860"/>
                  </a:cubicBezTo>
                  <a:cubicBezTo>
                    <a:pt x="1519109" y="49454"/>
                    <a:pt x="1504844" y="63719"/>
                    <a:pt x="1487250" y="63719"/>
                  </a:cubicBezTo>
                  <a:close/>
                </a:path>
              </a:pathLst>
            </a:custGeom>
            <a:grpFill/>
            <a:ln w="7348" cap="flat">
              <a:solidFill>
                <a:srgbClr val="0414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9F09D45A-C986-CBD9-7E6C-FBFC338DBFEF}"/>
                </a:ext>
              </a:extLst>
            </p:cNvPr>
            <p:cNvSpPr/>
            <p:nvPr/>
          </p:nvSpPr>
          <p:spPr>
            <a:xfrm>
              <a:off x="-4607671" y="3281245"/>
              <a:ext cx="1519109" cy="63719"/>
            </a:xfrm>
            <a:custGeom>
              <a:avLst/>
              <a:gdLst>
                <a:gd name="connsiteX0" fmla="*/ 1487278 w 1519109"/>
                <a:gd name="connsiteY0" fmla="*/ 63719 h 63719"/>
                <a:gd name="connsiteX1" fmla="*/ 31888 w 1519109"/>
                <a:gd name="connsiteY1" fmla="*/ 63719 h 63719"/>
                <a:gd name="connsiteX2" fmla="*/ 0 w 1519109"/>
                <a:gd name="connsiteY2" fmla="*/ 31860 h 63719"/>
                <a:gd name="connsiteX3" fmla="*/ 31860 w 1519109"/>
                <a:gd name="connsiteY3" fmla="*/ 0 h 63719"/>
                <a:gd name="connsiteX4" fmla="*/ 1487250 w 1519109"/>
                <a:gd name="connsiteY4" fmla="*/ 0 h 63719"/>
                <a:gd name="connsiteX5" fmla="*/ 1519109 w 1519109"/>
                <a:gd name="connsiteY5" fmla="*/ 31860 h 63719"/>
                <a:gd name="connsiteX6" fmla="*/ 1487250 w 1519109"/>
                <a:gd name="connsiteY6" fmla="*/ 63719 h 63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19109" h="63719">
                  <a:moveTo>
                    <a:pt x="1487278" y="63719"/>
                  </a:moveTo>
                  <a:lnTo>
                    <a:pt x="31888" y="63719"/>
                  </a:lnTo>
                  <a:cubicBezTo>
                    <a:pt x="14294" y="63719"/>
                    <a:pt x="0" y="49454"/>
                    <a:pt x="0" y="31860"/>
                  </a:cubicBezTo>
                  <a:cubicBezTo>
                    <a:pt x="0" y="14265"/>
                    <a:pt x="14265" y="0"/>
                    <a:pt x="31860" y="0"/>
                  </a:cubicBezTo>
                  <a:lnTo>
                    <a:pt x="1487250" y="0"/>
                  </a:lnTo>
                  <a:cubicBezTo>
                    <a:pt x="1504844" y="0"/>
                    <a:pt x="1519109" y="14265"/>
                    <a:pt x="1519109" y="31860"/>
                  </a:cubicBezTo>
                  <a:cubicBezTo>
                    <a:pt x="1519109" y="49454"/>
                    <a:pt x="1504844" y="63719"/>
                    <a:pt x="1487250" y="63719"/>
                  </a:cubicBezTo>
                  <a:close/>
                </a:path>
              </a:pathLst>
            </a:custGeom>
            <a:grpFill/>
            <a:ln w="7348" cap="flat">
              <a:solidFill>
                <a:srgbClr val="0414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0E8E59BF-4BBB-7DAD-1ABA-798E86F05803}"/>
                </a:ext>
              </a:extLst>
            </p:cNvPr>
            <p:cNvSpPr/>
            <p:nvPr/>
          </p:nvSpPr>
          <p:spPr>
            <a:xfrm>
              <a:off x="-2953457" y="782511"/>
              <a:ext cx="1185743" cy="2442620"/>
            </a:xfrm>
            <a:custGeom>
              <a:avLst/>
              <a:gdLst>
                <a:gd name="connsiteX0" fmla="*/ 109490 w 1185743"/>
                <a:gd name="connsiteY0" fmla="*/ 166170 h 2442620"/>
                <a:gd name="connsiteX1" fmla="*/ 72148 w 1185743"/>
                <a:gd name="connsiteY1" fmla="*/ 194959 h 2442620"/>
                <a:gd name="connsiteX2" fmla="*/ 65834 w 1185743"/>
                <a:gd name="connsiteY2" fmla="*/ 241687 h 2442620"/>
                <a:gd name="connsiteX3" fmla="*/ 626255 w 1185743"/>
                <a:gd name="connsiteY3" fmla="*/ 2333181 h 2442620"/>
                <a:gd name="connsiteX4" fmla="*/ 655043 w 1185743"/>
                <a:gd name="connsiteY4" fmla="*/ 2370523 h 2442620"/>
                <a:gd name="connsiteX5" fmla="*/ 701857 w 1185743"/>
                <a:gd name="connsiteY5" fmla="*/ 2376838 h 2442620"/>
                <a:gd name="connsiteX6" fmla="*/ 1076253 w 1185743"/>
                <a:gd name="connsiteY6" fmla="*/ 2276525 h 2442620"/>
                <a:gd name="connsiteX7" fmla="*/ 1119909 w 1185743"/>
                <a:gd name="connsiteY7" fmla="*/ 2200952 h 2442620"/>
                <a:gd name="connsiteX8" fmla="*/ 559488 w 1185743"/>
                <a:gd name="connsiteY8" fmla="*/ 109458 h 2442620"/>
                <a:gd name="connsiteX9" fmla="*/ 530699 w 1185743"/>
                <a:gd name="connsiteY9" fmla="*/ 72116 h 2442620"/>
                <a:gd name="connsiteX10" fmla="*/ 483914 w 1185743"/>
                <a:gd name="connsiteY10" fmla="*/ 65888 h 2442620"/>
                <a:gd name="connsiteX11" fmla="*/ 109519 w 1185743"/>
                <a:gd name="connsiteY11" fmla="*/ 166201 h 2442620"/>
                <a:gd name="connsiteX12" fmla="*/ 685841 w 1185743"/>
                <a:gd name="connsiteY12" fmla="*/ 2442610 h 2442620"/>
                <a:gd name="connsiteX13" fmla="*/ 623184 w 1185743"/>
                <a:gd name="connsiteY13" fmla="*/ 2425675 h 2442620"/>
                <a:gd name="connsiteX14" fmla="*/ 564688 w 1185743"/>
                <a:gd name="connsiteY14" fmla="*/ 2349669 h 2442620"/>
                <a:gd name="connsiteX15" fmla="*/ 4355 w 1185743"/>
                <a:gd name="connsiteY15" fmla="*/ 258175 h 2442620"/>
                <a:gd name="connsiteX16" fmla="*/ 16956 w 1185743"/>
                <a:gd name="connsiteY16" fmla="*/ 163086 h 2442620"/>
                <a:gd name="connsiteX17" fmla="*/ 92962 w 1185743"/>
                <a:gd name="connsiteY17" fmla="*/ 104591 h 2442620"/>
                <a:gd name="connsiteX18" fmla="*/ 467357 w 1185743"/>
                <a:gd name="connsiteY18" fmla="*/ 4278 h 2442620"/>
                <a:gd name="connsiteX19" fmla="*/ 562534 w 1185743"/>
                <a:gd name="connsiteY19" fmla="*/ 16907 h 2442620"/>
                <a:gd name="connsiteX20" fmla="*/ 621029 w 1185743"/>
                <a:gd name="connsiteY20" fmla="*/ 92994 h 2442620"/>
                <a:gd name="connsiteX21" fmla="*/ 1181472 w 1185743"/>
                <a:gd name="connsiteY21" fmla="*/ 2184415 h 2442620"/>
                <a:gd name="connsiteX22" fmla="*/ 1092755 w 1185743"/>
                <a:gd name="connsiteY22" fmla="*/ 2338088 h 2442620"/>
                <a:gd name="connsiteX23" fmla="*/ 718359 w 1185743"/>
                <a:gd name="connsiteY23" fmla="*/ 2438401 h 2442620"/>
                <a:gd name="connsiteX24" fmla="*/ 685839 w 1185743"/>
                <a:gd name="connsiteY24" fmla="*/ 2442620 h 2442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185743" h="2442620">
                  <a:moveTo>
                    <a:pt x="109490" y="166170"/>
                  </a:moveTo>
                  <a:cubicBezTo>
                    <a:pt x="93732" y="170418"/>
                    <a:pt x="80443" y="180607"/>
                    <a:pt x="72148" y="194959"/>
                  </a:cubicBezTo>
                  <a:cubicBezTo>
                    <a:pt x="63853" y="209310"/>
                    <a:pt x="61614" y="225900"/>
                    <a:pt x="65834" y="241687"/>
                  </a:cubicBezTo>
                  <a:lnTo>
                    <a:pt x="626255" y="2333181"/>
                  </a:lnTo>
                  <a:cubicBezTo>
                    <a:pt x="630503" y="2349025"/>
                    <a:pt x="640778" y="2362314"/>
                    <a:pt x="655043" y="2370523"/>
                  </a:cubicBezTo>
                  <a:cubicBezTo>
                    <a:pt x="669395" y="2378818"/>
                    <a:pt x="685985" y="2381057"/>
                    <a:pt x="701857" y="2376838"/>
                  </a:cubicBezTo>
                  <a:lnTo>
                    <a:pt x="1076253" y="2276525"/>
                  </a:lnTo>
                  <a:cubicBezTo>
                    <a:pt x="1109118" y="2267742"/>
                    <a:pt x="1128692" y="2233787"/>
                    <a:pt x="1119909" y="2200952"/>
                  </a:cubicBezTo>
                  <a:lnTo>
                    <a:pt x="559488" y="109458"/>
                  </a:lnTo>
                  <a:cubicBezTo>
                    <a:pt x="555269" y="93700"/>
                    <a:pt x="545051" y="80411"/>
                    <a:pt x="530699" y="72116"/>
                  </a:cubicBezTo>
                  <a:cubicBezTo>
                    <a:pt x="516348" y="63821"/>
                    <a:pt x="499758" y="61668"/>
                    <a:pt x="483914" y="65888"/>
                  </a:cubicBezTo>
                  <a:lnTo>
                    <a:pt x="109519" y="166201"/>
                  </a:lnTo>
                  <a:close/>
                  <a:moveTo>
                    <a:pt x="685841" y="2442610"/>
                  </a:moveTo>
                  <a:cubicBezTo>
                    <a:pt x="664114" y="2442610"/>
                    <a:pt x="642615" y="2436898"/>
                    <a:pt x="623184" y="2425675"/>
                  </a:cubicBezTo>
                  <a:cubicBezTo>
                    <a:pt x="594137" y="2408913"/>
                    <a:pt x="573414" y="2381962"/>
                    <a:pt x="564688" y="2349669"/>
                  </a:cubicBezTo>
                  <a:lnTo>
                    <a:pt x="4355" y="258175"/>
                  </a:lnTo>
                  <a:cubicBezTo>
                    <a:pt x="-4370" y="225885"/>
                    <a:pt x="107" y="192130"/>
                    <a:pt x="16956" y="163086"/>
                  </a:cubicBezTo>
                  <a:cubicBezTo>
                    <a:pt x="33717" y="133954"/>
                    <a:pt x="60755" y="113230"/>
                    <a:pt x="92962" y="104591"/>
                  </a:cubicBezTo>
                  <a:lnTo>
                    <a:pt x="467357" y="4278"/>
                  </a:lnTo>
                  <a:cubicBezTo>
                    <a:pt x="499647" y="-4333"/>
                    <a:pt x="533402" y="145"/>
                    <a:pt x="562534" y="16907"/>
                  </a:cubicBezTo>
                  <a:cubicBezTo>
                    <a:pt x="591581" y="33669"/>
                    <a:pt x="612391" y="60707"/>
                    <a:pt x="621029" y="92994"/>
                  </a:cubicBezTo>
                  <a:lnTo>
                    <a:pt x="1181472" y="2184415"/>
                  </a:lnTo>
                  <a:cubicBezTo>
                    <a:pt x="1199326" y="2251206"/>
                    <a:pt x="1159572" y="2320182"/>
                    <a:pt x="1092755" y="2338088"/>
                  </a:cubicBezTo>
                  <a:lnTo>
                    <a:pt x="718359" y="2438401"/>
                  </a:lnTo>
                  <a:cubicBezTo>
                    <a:pt x="707596" y="2441214"/>
                    <a:pt x="696689" y="2442620"/>
                    <a:pt x="685839" y="2442620"/>
                  </a:cubicBezTo>
                  <a:close/>
                </a:path>
              </a:pathLst>
            </a:custGeom>
            <a:grpFill/>
            <a:ln w="7348" cap="flat">
              <a:solidFill>
                <a:srgbClr val="0414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DD5D2B6-C68B-0FB5-D5A5-4C9B6CFB60B0}"/>
                </a:ext>
              </a:extLst>
            </p:cNvPr>
            <p:cNvSpPr/>
            <p:nvPr/>
          </p:nvSpPr>
          <p:spPr>
            <a:xfrm>
              <a:off x="-2883685" y="473515"/>
              <a:ext cx="347375" cy="452010"/>
            </a:xfrm>
            <a:custGeom>
              <a:avLst/>
              <a:gdLst>
                <a:gd name="connsiteX0" fmla="*/ 315483 w 347375"/>
                <a:gd name="connsiteY0" fmla="*/ 400145 h 452010"/>
                <a:gd name="connsiteX1" fmla="*/ 284685 w 347375"/>
                <a:gd name="connsiteY1" fmla="*/ 376493 h 452010"/>
                <a:gd name="connsiteX2" fmla="*/ 194586 w 347375"/>
                <a:gd name="connsiteY2" fmla="*/ 40101 h 452010"/>
                <a:gd name="connsiteX3" fmla="*/ 217060 w 347375"/>
                <a:gd name="connsiteY3" fmla="*/ 1094 h 452010"/>
                <a:gd name="connsiteX4" fmla="*/ 256153 w 347375"/>
                <a:gd name="connsiteY4" fmla="*/ 23654 h 452010"/>
                <a:gd name="connsiteX5" fmla="*/ 346282 w 347375"/>
                <a:gd name="connsiteY5" fmla="*/ 359966 h 452010"/>
                <a:gd name="connsiteX6" fmla="*/ 323693 w 347375"/>
                <a:gd name="connsiteY6" fmla="*/ 399059 h 452010"/>
                <a:gd name="connsiteX7" fmla="*/ 315484 w 347375"/>
                <a:gd name="connsiteY7" fmla="*/ 400121 h 452010"/>
                <a:gd name="connsiteX8" fmla="*/ 122000 w 347375"/>
                <a:gd name="connsiteY8" fmla="*/ 452010 h 452010"/>
                <a:gd name="connsiteX9" fmla="*/ 91202 w 347375"/>
                <a:gd name="connsiteY9" fmla="*/ 428359 h 452010"/>
                <a:gd name="connsiteX10" fmla="*/ 1102 w 347375"/>
                <a:gd name="connsiteY10" fmla="*/ 91967 h 452010"/>
                <a:gd name="connsiteX11" fmla="*/ 23576 w 347375"/>
                <a:gd name="connsiteY11" fmla="*/ 52960 h 452010"/>
                <a:gd name="connsiteX12" fmla="*/ 62583 w 347375"/>
                <a:gd name="connsiteY12" fmla="*/ 75520 h 452010"/>
                <a:gd name="connsiteX13" fmla="*/ 152764 w 347375"/>
                <a:gd name="connsiteY13" fmla="*/ 411831 h 452010"/>
                <a:gd name="connsiteX14" fmla="*/ 130204 w 347375"/>
                <a:gd name="connsiteY14" fmla="*/ 450924 h 452010"/>
                <a:gd name="connsiteX15" fmla="*/ 121994 w 347375"/>
                <a:gd name="connsiteY15" fmla="*/ 451986 h 452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47375" h="452010">
                  <a:moveTo>
                    <a:pt x="315483" y="400145"/>
                  </a:moveTo>
                  <a:cubicBezTo>
                    <a:pt x="301390" y="400145"/>
                    <a:pt x="288503" y="390759"/>
                    <a:pt x="284685" y="376493"/>
                  </a:cubicBezTo>
                  <a:lnTo>
                    <a:pt x="194586" y="40101"/>
                  </a:lnTo>
                  <a:cubicBezTo>
                    <a:pt x="190022" y="23081"/>
                    <a:pt x="200126" y="5658"/>
                    <a:pt x="217060" y="1094"/>
                  </a:cubicBezTo>
                  <a:cubicBezTo>
                    <a:pt x="234167" y="-3469"/>
                    <a:pt x="251589" y="6663"/>
                    <a:pt x="256153" y="23654"/>
                  </a:cubicBezTo>
                  <a:lnTo>
                    <a:pt x="346282" y="359966"/>
                  </a:lnTo>
                  <a:cubicBezTo>
                    <a:pt x="350846" y="376986"/>
                    <a:pt x="340714" y="394495"/>
                    <a:pt x="323693" y="399059"/>
                  </a:cubicBezTo>
                  <a:cubicBezTo>
                    <a:pt x="320966" y="399805"/>
                    <a:pt x="318211" y="400149"/>
                    <a:pt x="315484" y="400121"/>
                  </a:cubicBezTo>
                  <a:close/>
                  <a:moveTo>
                    <a:pt x="122000" y="452010"/>
                  </a:moveTo>
                  <a:cubicBezTo>
                    <a:pt x="107878" y="452010"/>
                    <a:pt x="95019" y="442653"/>
                    <a:pt x="91202" y="428359"/>
                  </a:cubicBezTo>
                  <a:lnTo>
                    <a:pt x="1102" y="91967"/>
                  </a:lnTo>
                  <a:cubicBezTo>
                    <a:pt x="-3461" y="74946"/>
                    <a:pt x="6556" y="57524"/>
                    <a:pt x="23576" y="52960"/>
                  </a:cubicBezTo>
                  <a:cubicBezTo>
                    <a:pt x="40683" y="48396"/>
                    <a:pt x="58106" y="58528"/>
                    <a:pt x="62583" y="75520"/>
                  </a:cubicBezTo>
                  <a:lnTo>
                    <a:pt x="152764" y="411831"/>
                  </a:lnTo>
                  <a:cubicBezTo>
                    <a:pt x="157270" y="428852"/>
                    <a:pt x="147195" y="446360"/>
                    <a:pt x="130204" y="450924"/>
                  </a:cubicBezTo>
                  <a:cubicBezTo>
                    <a:pt x="127477" y="451670"/>
                    <a:pt x="124635" y="452015"/>
                    <a:pt x="121994" y="451986"/>
                  </a:cubicBezTo>
                  <a:close/>
                </a:path>
              </a:pathLst>
            </a:custGeom>
            <a:grpFill/>
            <a:ln w="7348" cap="flat">
              <a:solidFill>
                <a:srgbClr val="0414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69819EC-4CD8-1851-2467-FA2BD9F968AB}"/>
                </a:ext>
              </a:extLst>
            </p:cNvPr>
            <p:cNvSpPr/>
            <p:nvPr/>
          </p:nvSpPr>
          <p:spPr>
            <a:xfrm>
              <a:off x="-3080731" y="241075"/>
              <a:ext cx="599522" cy="386961"/>
            </a:xfrm>
            <a:custGeom>
              <a:avLst/>
              <a:gdLst>
                <a:gd name="connsiteX0" fmla="*/ 70850 w 599522"/>
                <a:gd name="connsiteY0" fmla="*/ 184094 h 386961"/>
                <a:gd name="connsiteX1" fmla="*/ 106211 w 599522"/>
                <a:gd name="connsiteY1" fmla="*/ 316039 h 386961"/>
                <a:gd name="connsiteX2" fmla="*/ 528566 w 599522"/>
                <a:gd name="connsiteY2" fmla="*/ 202919 h 386961"/>
                <a:gd name="connsiteX3" fmla="*/ 493204 w 599522"/>
                <a:gd name="connsiteY3" fmla="*/ 70915 h 386961"/>
                <a:gd name="connsiteX4" fmla="*/ 83708 w 599522"/>
                <a:gd name="connsiteY4" fmla="*/ 386961 h 386961"/>
                <a:gd name="connsiteX5" fmla="*/ 67778 w 599522"/>
                <a:gd name="connsiteY5" fmla="*/ 382655 h 386961"/>
                <a:gd name="connsiteX6" fmla="*/ 52939 w 599522"/>
                <a:gd name="connsiteY6" fmla="*/ 363338 h 386961"/>
                <a:gd name="connsiteX7" fmla="*/ 1102 w 599522"/>
                <a:gd name="connsiteY7" fmla="*/ 169825 h 386961"/>
                <a:gd name="connsiteX8" fmla="*/ 23576 w 599522"/>
                <a:gd name="connsiteY8" fmla="*/ 130818 h 386961"/>
                <a:gd name="connsiteX9" fmla="*/ 507499 w 599522"/>
                <a:gd name="connsiteY9" fmla="*/ 1114 h 386961"/>
                <a:gd name="connsiteX10" fmla="*/ 531724 w 599522"/>
                <a:gd name="connsiteY10" fmla="*/ 4271 h 386961"/>
                <a:gd name="connsiteX11" fmla="*/ 546592 w 599522"/>
                <a:gd name="connsiteY11" fmla="*/ 23617 h 386961"/>
                <a:gd name="connsiteX12" fmla="*/ 598457 w 599522"/>
                <a:gd name="connsiteY12" fmla="*/ 217189 h 386961"/>
                <a:gd name="connsiteX13" fmla="*/ 575897 w 599522"/>
                <a:gd name="connsiteY13" fmla="*/ 256196 h 386961"/>
                <a:gd name="connsiteX14" fmla="*/ 91975 w 599522"/>
                <a:gd name="connsiteY14" fmla="*/ 385871 h 386961"/>
                <a:gd name="connsiteX15" fmla="*/ 83766 w 599522"/>
                <a:gd name="connsiteY15" fmla="*/ 386961 h 386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99522" h="386961">
                  <a:moveTo>
                    <a:pt x="70850" y="184094"/>
                  </a:moveTo>
                  <a:lnTo>
                    <a:pt x="106211" y="316039"/>
                  </a:lnTo>
                  <a:lnTo>
                    <a:pt x="528566" y="202919"/>
                  </a:lnTo>
                  <a:lnTo>
                    <a:pt x="493204" y="70915"/>
                  </a:lnTo>
                  <a:close/>
                  <a:moveTo>
                    <a:pt x="83708" y="386961"/>
                  </a:moveTo>
                  <a:cubicBezTo>
                    <a:pt x="78140" y="386961"/>
                    <a:pt x="72572" y="385468"/>
                    <a:pt x="67778" y="382655"/>
                  </a:cubicBezTo>
                  <a:cubicBezTo>
                    <a:pt x="60402" y="378407"/>
                    <a:pt x="55091" y="371462"/>
                    <a:pt x="52939" y="363338"/>
                  </a:cubicBezTo>
                  <a:lnTo>
                    <a:pt x="1102" y="169825"/>
                  </a:lnTo>
                  <a:cubicBezTo>
                    <a:pt x="-3461" y="152805"/>
                    <a:pt x="6556" y="135296"/>
                    <a:pt x="23576" y="130818"/>
                  </a:cubicBezTo>
                  <a:lnTo>
                    <a:pt x="507499" y="1114"/>
                  </a:lnTo>
                  <a:cubicBezTo>
                    <a:pt x="515708" y="-1125"/>
                    <a:pt x="524405" y="52"/>
                    <a:pt x="531724" y="4271"/>
                  </a:cubicBezTo>
                  <a:cubicBezTo>
                    <a:pt x="539043" y="8491"/>
                    <a:pt x="544324" y="15465"/>
                    <a:pt x="546592" y="23617"/>
                  </a:cubicBezTo>
                  <a:lnTo>
                    <a:pt x="598457" y="217189"/>
                  </a:lnTo>
                  <a:cubicBezTo>
                    <a:pt x="602935" y="234209"/>
                    <a:pt x="592889" y="251632"/>
                    <a:pt x="575897" y="256196"/>
                  </a:cubicBezTo>
                  <a:lnTo>
                    <a:pt x="91975" y="385871"/>
                  </a:lnTo>
                  <a:cubicBezTo>
                    <a:pt x="89219" y="386531"/>
                    <a:pt x="86493" y="386961"/>
                    <a:pt x="83766" y="386961"/>
                  </a:cubicBezTo>
                  <a:close/>
                </a:path>
              </a:pathLst>
            </a:custGeom>
            <a:grpFill/>
            <a:ln w="7348" cap="flat">
              <a:solidFill>
                <a:srgbClr val="0414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C8BD0326-6F9E-793E-4742-3E9654D53396}"/>
                </a:ext>
              </a:extLst>
            </p:cNvPr>
            <p:cNvSpPr/>
            <p:nvPr/>
          </p:nvSpPr>
          <p:spPr>
            <a:xfrm>
              <a:off x="-2184721" y="3082145"/>
              <a:ext cx="316136" cy="335195"/>
            </a:xfrm>
            <a:custGeom>
              <a:avLst/>
              <a:gdLst>
                <a:gd name="connsiteX0" fmla="*/ 90676 w 316136"/>
                <a:gd name="connsiteY0" fmla="*/ 335196 h 335195"/>
                <a:gd name="connsiteX1" fmla="*/ 74717 w 316136"/>
                <a:gd name="connsiteY1" fmla="*/ 330977 h 335195"/>
                <a:gd name="connsiteX2" fmla="*/ 59878 w 316136"/>
                <a:gd name="connsiteY2" fmla="*/ 311631 h 335195"/>
                <a:gd name="connsiteX3" fmla="*/ 1067 w 316136"/>
                <a:gd name="connsiteY3" fmla="*/ 91967 h 335195"/>
                <a:gd name="connsiteX4" fmla="*/ 23627 w 316136"/>
                <a:gd name="connsiteY4" fmla="*/ 52989 h 335195"/>
                <a:gd name="connsiteX5" fmla="*/ 62634 w 316136"/>
                <a:gd name="connsiteY5" fmla="*/ 75463 h 335195"/>
                <a:gd name="connsiteX6" fmla="*/ 113265 w 316136"/>
                <a:gd name="connsiteY6" fmla="*/ 264325 h 335195"/>
                <a:gd name="connsiteX7" fmla="*/ 245181 w 316136"/>
                <a:gd name="connsiteY7" fmla="*/ 228963 h 335195"/>
                <a:gd name="connsiteX8" fmla="*/ 194636 w 316136"/>
                <a:gd name="connsiteY8" fmla="*/ 40101 h 335195"/>
                <a:gd name="connsiteX9" fmla="*/ 217138 w 316136"/>
                <a:gd name="connsiteY9" fmla="*/ 1095 h 335195"/>
                <a:gd name="connsiteX10" fmla="*/ 256145 w 316136"/>
                <a:gd name="connsiteY10" fmla="*/ 23569 h 335195"/>
                <a:gd name="connsiteX11" fmla="*/ 315072 w 316136"/>
                <a:gd name="connsiteY11" fmla="*/ 243204 h 335195"/>
                <a:gd name="connsiteX12" fmla="*/ 292511 w 316136"/>
                <a:gd name="connsiteY12" fmla="*/ 282210 h 335195"/>
                <a:gd name="connsiteX13" fmla="*/ 99028 w 316136"/>
                <a:gd name="connsiteY13" fmla="*/ 334047 h 335195"/>
                <a:gd name="connsiteX14" fmla="*/ 90733 w 316136"/>
                <a:gd name="connsiteY14" fmla="*/ 335138 h 335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16136" h="335195">
                  <a:moveTo>
                    <a:pt x="90676" y="335196"/>
                  </a:moveTo>
                  <a:cubicBezTo>
                    <a:pt x="85194" y="335196"/>
                    <a:pt x="79626" y="333789"/>
                    <a:pt x="74717" y="330977"/>
                  </a:cubicBezTo>
                  <a:cubicBezTo>
                    <a:pt x="67427" y="326729"/>
                    <a:pt x="62117" y="319783"/>
                    <a:pt x="59878" y="311631"/>
                  </a:cubicBezTo>
                  <a:lnTo>
                    <a:pt x="1067" y="91967"/>
                  </a:lnTo>
                  <a:cubicBezTo>
                    <a:pt x="-3411" y="74947"/>
                    <a:pt x="6606" y="57553"/>
                    <a:pt x="23627" y="52989"/>
                  </a:cubicBezTo>
                  <a:cubicBezTo>
                    <a:pt x="40733" y="48425"/>
                    <a:pt x="58070" y="58557"/>
                    <a:pt x="62634" y="75463"/>
                  </a:cubicBezTo>
                  <a:lnTo>
                    <a:pt x="113265" y="264325"/>
                  </a:lnTo>
                  <a:lnTo>
                    <a:pt x="245181" y="228963"/>
                  </a:lnTo>
                  <a:lnTo>
                    <a:pt x="194636" y="40101"/>
                  </a:lnTo>
                  <a:cubicBezTo>
                    <a:pt x="190072" y="23081"/>
                    <a:pt x="200118" y="5658"/>
                    <a:pt x="217138" y="1095"/>
                  </a:cubicBezTo>
                  <a:cubicBezTo>
                    <a:pt x="234159" y="-3469"/>
                    <a:pt x="251668" y="6663"/>
                    <a:pt x="256145" y="23569"/>
                  </a:cubicBezTo>
                  <a:lnTo>
                    <a:pt x="315072" y="243204"/>
                  </a:lnTo>
                  <a:cubicBezTo>
                    <a:pt x="319549" y="260224"/>
                    <a:pt x="309503" y="277647"/>
                    <a:pt x="292511" y="282210"/>
                  </a:cubicBezTo>
                  <a:lnTo>
                    <a:pt x="99028" y="334047"/>
                  </a:lnTo>
                  <a:cubicBezTo>
                    <a:pt x="96272" y="334794"/>
                    <a:pt x="93545" y="335138"/>
                    <a:pt x="90733" y="335138"/>
                  </a:cubicBezTo>
                  <a:close/>
                </a:path>
              </a:pathLst>
            </a:custGeom>
            <a:grpFill/>
            <a:ln w="7348" cap="flat">
              <a:solidFill>
                <a:srgbClr val="0414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1ADA5152-D748-3B6E-81E3-996EA7FB4C8C}"/>
                </a:ext>
              </a:extLst>
            </p:cNvPr>
            <p:cNvSpPr/>
            <p:nvPr/>
          </p:nvSpPr>
          <p:spPr>
            <a:xfrm>
              <a:off x="-2029186" y="3327696"/>
              <a:ext cx="192953" cy="546022"/>
            </a:xfrm>
            <a:custGeom>
              <a:avLst/>
              <a:gdLst>
                <a:gd name="connsiteX0" fmla="*/ 161088 w 192953"/>
                <a:gd name="connsiteY0" fmla="*/ 546020 h 546022"/>
                <a:gd name="connsiteX1" fmla="*/ 130291 w 192953"/>
                <a:gd name="connsiteY1" fmla="*/ 522369 h 546022"/>
                <a:gd name="connsiteX2" fmla="*/ 1100 w 192953"/>
                <a:gd name="connsiteY2" fmla="*/ 40107 h 546022"/>
                <a:gd name="connsiteX3" fmla="*/ 23575 w 192953"/>
                <a:gd name="connsiteY3" fmla="*/ 1100 h 546022"/>
                <a:gd name="connsiteX4" fmla="*/ 62581 w 192953"/>
                <a:gd name="connsiteY4" fmla="*/ 23574 h 546022"/>
                <a:gd name="connsiteX5" fmla="*/ 191859 w 192953"/>
                <a:gd name="connsiteY5" fmla="*/ 505925 h 546022"/>
                <a:gd name="connsiteX6" fmla="*/ 169271 w 192953"/>
                <a:gd name="connsiteY6" fmla="*/ 544932 h 546022"/>
                <a:gd name="connsiteX7" fmla="*/ 161062 w 192953"/>
                <a:gd name="connsiteY7" fmla="*/ 546022 h 54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2953" h="546022">
                  <a:moveTo>
                    <a:pt x="161088" y="546020"/>
                  </a:moveTo>
                  <a:cubicBezTo>
                    <a:pt x="146995" y="546020"/>
                    <a:pt x="134108" y="536635"/>
                    <a:pt x="130291" y="522369"/>
                  </a:cubicBezTo>
                  <a:lnTo>
                    <a:pt x="1100" y="40107"/>
                  </a:lnTo>
                  <a:cubicBezTo>
                    <a:pt x="-3463" y="23087"/>
                    <a:pt x="6583" y="5664"/>
                    <a:pt x="23575" y="1100"/>
                  </a:cubicBezTo>
                  <a:cubicBezTo>
                    <a:pt x="40681" y="-3463"/>
                    <a:pt x="58018" y="6583"/>
                    <a:pt x="62581" y="23574"/>
                  </a:cubicBezTo>
                  <a:lnTo>
                    <a:pt x="191859" y="505925"/>
                  </a:lnTo>
                  <a:cubicBezTo>
                    <a:pt x="196423" y="522859"/>
                    <a:pt x="186292" y="540368"/>
                    <a:pt x="169271" y="544932"/>
                  </a:cubicBezTo>
                  <a:cubicBezTo>
                    <a:pt x="166544" y="545678"/>
                    <a:pt x="163789" y="546022"/>
                    <a:pt x="161062" y="546022"/>
                  </a:cubicBezTo>
                  <a:close/>
                </a:path>
              </a:pathLst>
            </a:custGeom>
            <a:grpFill/>
            <a:ln w="7348" cap="flat">
              <a:solidFill>
                <a:srgbClr val="0414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85F7E2CB-86C5-EFD6-2BB7-EC5A71266938}"/>
                </a:ext>
              </a:extLst>
            </p:cNvPr>
            <p:cNvSpPr/>
            <p:nvPr/>
          </p:nvSpPr>
          <p:spPr>
            <a:xfrm>
              <a:off x="-2843963" y="1329551"/>
              <a:ext cx="315682" cy="131231"/>
            </a:xfrm>
            <a:custGeom>
              <a:avLst/>
              <a:gdLst>
                <a:gd name="connsiteX0" fmla="*/ 31812 w 315682"/>
                <a:gd name="connsiteY0" fmla="*/ 131203 h 131231"/>
                <a:gd name="connsiteX1" fmla="*/ 1100 w 315682"/>
                <a:gd name="connsiteY1" fmla="*/ 107638 h 131231"/>
                <a:gd name="connsiteX2" fmla="*/ 23603 w 315682"/>
                <a:gd name="connsiteY2" fmla="*/ 68546 h 131231"/>
                <a:gd name="connsiteX3" fmla="*/ 275524 w 315682"/>
                <a:gd name="connsiteY3" fmla="*/ 1095 h 131231"/>
                <a:gd name="connsiteX4" fmla="*/ 314589 w 315682"/>
                <a:gd name="connsiteY4" fmla="*/ 23597 h 131231"/>
                <a:gd name="connsiteX5" fmla="*/ 292000 w 315682"/>
                <a:gd name="connsiteY5" fmla="*/ 62690 h 131231"/>
                <a:gd name="connsiteX6" fmla="*/ 40108 w 315682"/>
                <a:gd name="connsiteY6" fmla="*/ 130141 h 131231"/>
                <a:gd name="connsiteX7" fmla="*/ 31784 w 315682"/>
                <a:gd name="connsiteY7" fmla="*/ 131232 h 131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5682" h="131231">
                  <a:moveTo>
                    <a:pt x="31812" y="131203"/>
                  </a:moveTo>
                  <a:cubicBezTo>
                    <a:pt x="17806" y="131203"/>
                    <a:pt x="4917" y="121818"/>
                    <a:pt x="1100" y="107638"/>
                  </a:cubicBezTo>
                  <a:cubicBezTo>
                    <a:pt x="-3463" y="90618"/>
                    <a:pt x="6582" y="73109"/>
                    <a:pt x="23603" y="68546"/>
                  </a:cubicBezTo>
                  <a:lnTo>
                    <a:pt x="275524" y="1095"/>
                  </a:lnTo>
                  <a:cubicBezTo>
                    <a:pt x="292602" y="-3469"/>
                    <a:pt x="310025" y="6663"/>
                    <a:pt x="314589" y="23597"/>
                  </a:cubicBezTo>
                  <a:cubicBezTo>
                    <a:pt x="319152" y="40589"/>
                    <a:pt x="309020" y="58126"/>
                    <a:pt x="292000" y="62690"/>
                  </a:cubicBezTo>
                  <a:lnTo>
                    <a:pt x="40108" y="130141"/>
                  </a:lnTo>
                  <a:cubicBezTo>
                    <a:pt x="37352" y="130888"/>
                    <a:pt x="34540" y="131232"/>
                    <a:pt x="31784" y="131232"/>
                  </a:cubicBezTo>
                  <a:close/>
                </a:path>
              </a:pathLst>
            </a:custGeom>
            <a:grpFill/>
            <a:ln w="7348" cap="flat">
              <a:solidFill>
                <a:srgbClr val="0414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E6C197B9-1F57-CBCE-ACE6-E016679121CD}"/>
                </a:ext>
              </a:extLst>
            </p:cNvPr>
            <p:cNvSpPr/>
            <p:nvPr/>
          </p:nvSpPr>
          <p:spPr>
            <a:xfrm>
              <a:off x="-2785988" y="1579686"/>
              <a:ext cx="189682" cy="97535"/>
            </a:xfrm>
            <a:custGeom>
              <a:avLst/>
              <a:gdLst>
                <a:gd name="connsiteX0" fmla="*/ 31812 w 189682"/>
                <a:gd name="connsiteY0" fmla="*/ 97535 h 97535"/>
                <a:gd name="connsiteX1" fmla="*/ 1100 w 189682"/>
                <a:gd name="connsiteY1" fmla="*/ 73884 h 97535"/>
                <a:gd name="connsiteX2" fmla="*/ 23574 w 189682"/>
                <a:gd name="connsiteY2" fmla="*/ 34877 h 97535"/>
                <a:gd name="connsiteX3" fmla="*/ 149553 w 189682"/>
                <a:gd name="connsiteY3" fmla="*/ 1094 h 97535"/>
                <a:gd name="connsiteX4" fmla="*/ 188618 w 189682"/>
                <a:gd name="connsiteY4" fmla="*/ 23683 h 97535"/>
                <a:gd name="connsiteX5" fmla="*/ 166057 w 189682"/>
                <a:gd name="connsiteY5" fmla="*/ 62690 h 97535"/>
                <a:gd name="connsiteX6" fmla="*/ 40108 w 189682"/>
                <a:gd name="connsiteY6" fmla="*/ 96444 h 97535"/>
                <a:gd name="connsiteX7" fmla="*/ 31813 w 189682"/>
                <a:gd name="connsiteY7" fmla="*/ 97535 h 9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9682" h="97535">
                  <a:moveTo>
                    <a:pt x="31812" y="97535"/>
                  </a:moveTo>
                  <a:cubicBezTo>
                    <a:pt x="17806" y="97535"/>
                    <a:pt x="4918" y="88179"/>
                    <a:pt x="1100" y="73884"/>
                  </a:cubicBezTo>
                  <a:cubicBezTo>
                    <a:pt x="-3463" y="56864"/>
                    <a:pt x="6582" y="39441"/>
                    <a:pt x="23574" y="34877"/>
                  </a:cubicBezTo>
                  <a:lnTo>
                    <a:pt x="149553" y="1094"/>
                  </a:lnTo>
                  <a:cubicBezTo>
                    <a:pt x="166631" y="-3470"/>
                    <a:pt x="184054" y="6662"/>
                    <a:pt x="188618" y="23683"/>
                  </a:cubicBezTo>
                  <a:cubicBezTo>
                    <a:pt x="193095" y="40617"/>
                    <a:pt x="183049" y="58126"/>
                    <a:pt x="166057" y="62690"/>
                  </a:cubicBezTo>
                  <a:lnTo>
                    <a:pt x="40108" y="96444"/>
                  </a:lnTo>
                  <a:cubicBezTo>
                    <a:pt x="37381" y="97191"/>
                    <a:pt x="34540" y="97535"/>
                    <a:pt x="31813" y="97535"/>
                  </a:cubicBezTo>
                  <a:close/>
                </a:path>
              </a:pathLst>
            </a:custGeom>
            <a:grpFill/>
            <a:ln w="7348" cap="flat">
              <a:solidFill>
                <a:srgbClr val="0414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44571CA3-9D52-1860-3A99-CE9443F61619}"/>
                </a:ext>
              </a:extLst>
            </p:cNvPr>
            <p:cNvSpPr/>
            <p:nvPr/>
          </p:nvSpPr>
          <p:spPr>
            <a:xfrm>
              <a:off x="-2728014" y="1762378"/>
              <a:ext cx="315654" cy="131237"/>
            </a:xfrm>
            <a:custGeom>
              <a:avLst/>
              <a:gdLst>
                <a:gd name="connsiteX0" fmla="*/ 31812 w 315654"/>
                <a:gd name="connsiteY0" fmla="*/ 131237 h 131237"/>
                <a:gd name="connsiteX1" fmla="*/ 1100 w 315654"/>
                <a:gd name="connsiteY1" fmla="*/ 107673 h 131237"/>
                <a:gd name="connsiteX2" fmla="*/ 23574 w 315654"/>
                <a:gd name="connsiteY2" fmla="*/ 68580 h 131237"/>
                <a:gd name="connsiteX3" fmla="*/ 275496 w 315654"/>
                <a:gd name="connsiteY3" fmla="*/ 1100 h 131237"/>
                <a:gd name="connsiteX4" fmla="*/ 314560 w 315654"/>
                <a:gd name="connsiteY4" fmla="*/ 23603 h 131237"/>
                <a:gd name="connsiteX5" fmla="*/ 292000 w 315654"/>
                <a:gd name="connsiteY5" fmla="*/ 62610 h 131237"/>
                <a:gd name="connsiteX6" fmla="*/ 40079 w 315654"/>
                <a:gd name="connsiteY6" fmla="*/ 130147 h 131237"/>
                <a:gd name="connsiteX7" fmla="*/ 31784 w 315654"/>
                <a:gd name="connsiteY7" fmla="*/ 131209 h 131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5654" h="131237">
                  <a:moveTo>
                    <a:pt x="31812" y="131237"/>
                  </a:moveTo>
                  <a:cubicBezTo>
                    <a:pt x="17776" y="131237"/>
                    <a:pt x="4918" y="121881"/>
                    <a:pt x="1100" y="107673"/>
                  </a:cubicBezTo>
                  <a:cubicBezTo>
                    <a:pt x="-3463" y="90652"/>
                    <a:pt x="6583" y="73144"/>
                    <a:pt x="23574" y="68580"/>
                  </a:cubicBezTo>
                  <a:lnTo>
                    <a:pt x="275496" y="1100"/>
                  </a:lnTo>
                  <a:cubicBezTo>
                    <a:pt x="292602" y="-3463"/>
                    <a:pt x="309996" y="6582"/>
                    <a:pt x="314560" y="23603"/>
                  </a:cubicBezTo>
                  <a:cubicBezTo>
                    <a:pt x="319124" y="40595"/>
                    <a:pt x="308992" y="58132"/>
                    <a:pt x="292000" y="62610"/>
                  </a:cubicBezTo>
                  <a:lnTo>
                    <a:pt x="40079" y="130147"/>
                  </a:lnTo>
                  <a:cubicBezTo>
                    <a:pt x="37323" y="130893"/>
                    <a:pt x="34510" y="131238"/>
                    <a:pt x="31784" y="131209"/>
                  </a:cubicBezTo>
                  <a:close/>
                </a:path>
              </a:pathLst>
            </a:custGeom>
            <a:grpFill/>
            <a:ln w="7348" cap="flat">
              <a:solidFill>
                <a:srgbClr val="0414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B368AE3-ACDD-DDCA-94A2-27E5BFF8DF0B}"/>
                </a:ext>
              </a:extLst>
            </p:cNvPr>
            <p:cNvSpPr/>
            <p:nvPr/>
          </p:nvSpPr>
          <p:spPr>
            <a:xfrm>
              <a:off x="-2669956" y="2012548"/>
              <a:ext cx="189622" cy="97536"/>
            </a:xfrm>
            <a:custGeom>
              <a:avLst/>
              <a:gdLst>
                <a:gd name="connsiteX0" fmla="*/ 31802 w 189622"/>
                <a:gd name="connsiteY0" fmla="*/ 97536 h 97536"/>
                <a:gd name="connsiteX1" fmla="*/ 1091 w 189622"/>
                <a:gd name="connsiteY1" fmla="*/ 73885 h 97536"/>
                <a:gd name="connsiteX2" fmla="*/ 23565 w 189622"/>
                <a:gd name="connsiteY2" fmla="*/ 34878 h 97536"/>
                <a:gd name="connsiteX3" fmla="*/ 149544 w 189622"/>
                <a:gd name="connsiteY3" fmla="*/ 1095 h 97536"/>
                <a:gd name="connsiteX4" fmla="*/ 188522 w 189622"/>
                <a:gd name="connsiteY4" fmla="*/ 23597 h 97536"/>
                <a:gd name="connsiteX5" fmla="*/ 166048 w 189622"/>
                <a:gd name="connsiteY5" fmla="*/ 62690 h 97536"/>
                <a:gd name="connsiteX6" fmla="*/ 40098 w 189622"/>
                <a:gd name="connsiteY6" fmla="*/ 96387 h 97536"/>
                <a:gd name="connsiteX7" fmla="*/ 31803 w 189622"/>
                <a:gd name="connsiteY7" fmla="*/ 97535 h 97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9622" h="97536">
                  <a:moveTo>
                    <a:pt x="31802" y="97536"/>
                  </a:moveTo>
                  <a:cubicBezTo>
                    <a:pt x="17796" y="97536"/>
                    <a:pt x="4908" y="88179"/>
                    <a:pt x="1091" y="73885"/>
                  </a:cubicBezTo>
                  <a:cubicBezTo>
                    <a:pt x="-3444" y="56864"/>
                    <a:pt x="6573" y="39442"/>
                    <a:pt x="23565" y="34878"/>
                  </a:cubicBezTo>
                  <a:lnTo>
                    <a:pt x="149544" y="1095"/>
                  </a:lnTo>
                  <a:cubicBezTo>
                    <a:pt x="166564" y="-3469"/>
                    <a:pt x="184044" y="6663"/>
                    <a:pt x="188522" y="23597"/>
                  </a:cubicBezTo>
                  <a:cubicBezTo>
                    <a:pt x="193086" y="40589"/>
                    <a:pt x="183040" y="58127"/>
                    <a:pt x="166048" y="62690"/>
                  </a:cubicBezTo>
                  <a:lnTo>
                    <a:pt x="40098" y="96387"/>
                  </a:lnTo>
                  <a:cubicBezTo>
                    <a:pt x="37343" y="97133"/>
                    <a:pt x="34530" y="97564"/>
                    <a:pt x="31803" y="97535"/>
                  </a:cubicBezTo>
                  <a:close/>
                </a:path>
              </a:pathLst>
            </a:custGeom>
            <a:grpFill/>
            <a:ln w="7348" cap="flat">
              <a:solidFill>
                <a:srgbClr val="0414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3285DE30-6887-56A2-2725-615981EBE5E3}"/>
                </a:ext>
              </a:extLst>
            </p:cNvPr>
            <p:cNvSpPr/>
            <p:nvPr/>
          </p:nvSpPr>
          <p:spPr>
            <a:xfrm>
              <a:off x="-2612041" y="2195268"/>
              <a:ext cx="315653" cy="131209"/>
            </a:xfrm>
            <a:custGeom>
              <a:avLst/>
              <a:gdLst>
                <a:gd name="connsiteX0" fmla="*/ 31863 w 315653"/>
                <a:gd name="connsiteY0" fmla="*/ 131210 h 131209"/>
                <a:gd name="connsiteX1" fmla="*/ 1065 w 315653"/>
                <a:gd name="connsiteY1" fmla="*/ 107558 h 131209"/>
                <a:gd name="connsiteX2" fmla="*/ 23625 w 315653"/>
                <a:gd name="connsiteY2" fmla="*/ 68551 h 131209"/>
                <a:gd name="connsiteX3" fmla="*/ 275546 w 315653"/>
                <a:gd name="connsiteY3" fmla="*/ 1100 h 131209"/>
                <a:gd name="connsiteX4" fmla="*/ 314553 w 315653"/>
                <a:gd name="connsiteY4" fmla="*/ 23574 h 131209"/>
                <a:gd name="connsiteX5" fmla="*/ 292050 w 315653"/>
                <a:gd name="connsiteY5" fmla="*/ 62581 h 131209"/>
                <a:gd name="connsiteX6" fmla="*/ 40129 w 315653"/>
                <a:gd name="connsiteY6" fmla="*/ 130118 h 131209"/>
                <a:gd name="connsiteX7" fmla="*/ 31834 w 315653"/>
                <a:gd name="connsiteY7" fmla="*/ 131180 h 131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5653" h="131209">
                  <a:moveTo>
                    <a:pt x="31863" y="131210"/>
                  </a:moveTo>
                  <a:cubicBezTo>
                    <a:pt x="17856" y="131210"/>
                    <a:pt x="4882" y="121853"/>
                    <a:pt x="1065" y="107558"/>
                  </a:cubicBezTo>
                  <a:cubicBezTo>
                    <a:pt x="-3413" y="90538"/>
                    <a:pt x="6633" y="73115"/>
                    <a:pt x="23625" y="68551"/>
                  </a:cubicBezTo>
                  <a:lnTo>
                    <a:pt x="275546" y="1100"/>
                  </a:lnTo>
                  <a:cubicBezTo>
                    <a:pt x="292653" y="-3463"/>
                    <a:pt x="309990" y="6583"/>
                    <a:pt x="314553" y="23574"/>
                  </a:cubicBezTo>
                  <a:cubicBezTo>
                    <a:pt x="319117" y="40595"/>
                    <a:pt x="309071" y="58018"/>
                    <a:pt x="292050" y="62581"/>
                  </a:cubicBezTo>
                  <a:lnTo>
                    <a:pt x="40129" y="130118"/>
                  </a:lnTo>
                  <a:cubicBezTo>
                    <a:pt x="37316" y="130865"/>
                    <a:pt x="34561" y="131209"/>
                    <a:pt x="31834" y="131180"/>
                  </a:cubicBezTo>
                  <a:close/>
                </a:path>
              </a:pathLst>
            </a:custGeom>
            <a:grpFill/>
            <a:ln w="7348" cap="flat">
              <a:solidFill>
                <a:srgbClr val="0414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BAE096DA-7454-2E5B-380D-C872151DB014}"/>
                </a:ext>
              </a:extLst>
            </p:cNvPr>
            <p:cNvSpPr/>
            <p:nvPr/>
          </p:nvSpPr>
          <p:spPr>
            <a:xfrm>
              <a:off x="-2553993" y="2445418"/>
              <a:ext cx="189691" cy="97454"/>
            </a:xfrm>
            <a:custGeom>
              <a:avLst/>
              <a:gdLst>
                <a:gd name="connsiteX0" fmla="*/ 31863 w 189691"/>
                <a:gd name="connsiteY0" fmla="*/ 97454 h 97454"/>
                <a:gd name="connsiteX1" fmla="*/ 1065 w 189691"/>
                <a:gd name="connsiteY1" fmla="*/ 73890 h 97454"/>
                <a:gd name="connsiteX2" fmla="*/ 23625 w 189691"/>
                <a:gd name="connsiteY2" fmla="*/ 34797 h 97454"/>
                <a:gd name="connsiteX3" fmla="*/ 149575 w 189691"/>
                <a:gd name="connsiteY3" fmla="*/ 1100 h 97454"/>
                <a:gd name="connsiteX4" fmla="*/ 188582 w 189691"/>
                <a:gd name="connsiteY4" fmla="*/ 23575 h 97454"/>
                <a:gd name="connsiteX5" fmla="*/ 166107 w 189691"/>
                <a:gd name="connsiteY5" fmla="*/ 62581 h 97454"/>
                <a:gd name="connsiteX6" fmla="*/ 40158 w 189691"/>
                <a:gd name="connsiteY6" fmla="*/ 96336 h 97454"/>
                <a:gd name="connsiteX7" fmla="*/ 31863 w 189691"/>
                <a:gd name="connsiteY7" fmla="*/ 97427 h 97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9691" h="97454">
                  <a:moveTo>
                    <a:pt x="31863" y="97454"/>
                  </a:moveTo>
                  <a:cubicBezTo>
                    <a:pt x="17741" y="97454"/>
                    <a:pt x="4882" y="88069"/>
                    <a:pt x="1065" y="73890"/>
                  </a:cubicBezTo>
                  <a:cubicBezTo>
                    <a:pt x="-3413" y="56869"/>
                    <a:pt x="6633" y="39361"/>
                    <a:pt x="23625" y="34797"/>
                  </a:cubicBezTo>
                  <a:lnTo>
                    <a:pt x="149575" y="1100"/>
                  </a:lnTo>
                  <a:cubicBezTo>
                    <a:pt x="166595" y="-3463"/>
                    <a:pt x="184018" y="6582"/>
                    <a:pt x="188582" y="23575"/>
                  </a:cubicBezTo>
                  <a:cubicBezTo>
                    <a:pt x="193174" y="40595"/>
                    <a:pt x="183099" y="58104"/>
                    <a:pt x="166107" y="62581"/>
                  </a:cubicBezTo>
                  <a:lnTo>
                    <a:pt x="40158" y="96336"/>
                  </a:lnTo>
                  <a:cubicBezTo>
                    <a:pt x="37345" y="97082"/>
                    <a:pt x="34589" y="97427"/>
                    <a:pt x="31863" y="97427"/>
                  </a:cubicBezTo>
                  <a:close/>
                </a:path>
              </a:pathLst>
            </a:custGeom>
            <a:grpFill/>
            <a:ln w="7348" cap="flat">
              <a:solidFill>
                <a:srgbClr val="0414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61758174-20F8-B18B-046B-8AD7CCAEFA98}"/>
                </a:ext>
              </a:extLst>
            </p:cNvPr>
            <p:cNvSpPr/>
            <p:nvPr/>
          </p:nvSpPr>
          <p:spPr>
            <a:xfrm>
              <a:off x="-2496048" y="2628124"/>
              <a:ext cx="315654" cy="131317"/>
            </a:xfrm>
            <a:custGeom>
              <a:avLst/>
              <a:gdLst>
                <a:gd name="connsiteX0" fmla="*/ 31892 w 315654"/>
                <a:gd name="connsiteY0" fmla="*/ 131289 h 131317"/>
                <a:gd name="connsiteX1" fmla="*/ 1094 w 315654"/>
                <a:gd name="connsiteY1" fmla="*/ 107638 h 131317"/>
                <a:gd name="connsiteX2" fmla="*/ 23654 w 315654"/>
                <a:gd name="connsiteY2" fmla="*/ 68631 h 131317"/>
                <a:gd name="connsiteX3" fmla="*/ 275576 w 315654"/>
                <a:gd name="connsiteY3" fmla="*/ 1094 h 131317"/>
                <a:gd name="connsiteX4" fmla="*/ 314554 w 315654"/>
                <a:gd name="connsiteY4" fmla="*/ 23683 h 131317"/>
                <a:gd name="connsiteX5" fmla="*/ 292051 w 315654"/>
                <a:gd name="connsiteY5" fmla="*/ 62690 h 131317"/>
                <a:gd name="connsiteX6" fmla="*/ 40159 w 315654"/>
                <a:gd name="connsiteY6" fmla="*/ 130227 h 131317"/>
                <a:gd name="connsiteX7" fmla="*/ 31836 w 315654"/>
                <a:gd name="connsiteY7" fmla="*/ 131318 h 131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5654" h="131317">
                  <a:moveTo>
                    <a:pt x="31892" y="131289"/>
                  </a:moveTo>
                  <a:cubicBezTo>
                    <a:pt x="17799" y="131289"/>
                    <a:pt x="4911" y="121933"/>
                    <a:pt x="1094" y="107638"/>
                  </a:cubicBezTo>
                  <a:cubicBezTo>
                    <a:pt x="-3469" y="90617"/>
                    <a:pt x="6663" y="73195"/>
                    <a:pt x="23654" y="68631"/>
                  </a:cubicBezTo>
                  <a:lnTo>
                    <a:pt x="275576" y="1094"/>
                  </a:lnTo>
                  <a:cubicBezTo>
                    <a:pt x="292596" y="-3470"/>
                    <a:pt x="309990" y="6662"/>
                    <a:pt x="314554" y="23683"/>
                  </a:cubicBezTo>
                  <a:cubicBezTo>
                    <a:pt x="319118" y="40703"/>
                    <a:pt x="309072" y="58126"/>
                    <a:pt x="292051" y="62690"/>
                  </a:cubicBezTo>
                  <a:lnTo>
                    <a:pt x="40159" y="130227"/>
                  </a:lnTo>
                  <a:cubicBezTo>
                    <a:pt x="37346" y="130973"/>
                    <a:pt x="34591" y="131318"/>
                    <a:pt x="31836" y="131318"/>
                  </a:cubicBezTo>
                  <a:close/>
                </a:path>
              </a:pathLst>
            </a:custGeom>
            <a:grpFill/>
            <a:ln w="7348" cap="flat">
              <a:solidFill>
                <a:srgbClr val="04143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088842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A95B721-305D-0C64-27F4-881A211D31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A95B721-305D-0C64-27F4-881A211D31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335A4D0-096A-67F4-25B4-68F8C09EFE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607" y="17968"/>
            <a:ext cx="8604931" cy="738664"/>
          </a:xfrm>
        </p:spPr>
        <p:txBody>
          <a:bodyPr vert="horz"/>
          <a:lstStyle/>
          <a:p>
            <a:r>
              <a:rPr lang="en-US" dirty="0"/>
              <a:t>A Superior Multi-targeted Drug Would Be A Major Advancement For Treating Brain Injury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18D03A5-374E-C1C8-45B3-303D6ACC5D66}"/>
              </a:ext>
            </a:extLst>
          </p:cNvPr>
          <p:cNvSpPr/>
          <p:nvPr/>
        </p:nvSpPr>
        <p:spPr>
          <a:xfrm>
            <a:off x="1218402" y="925408"/>
            <a:ext cx="7654135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mory neuroscientists challenged their world-class medicinal chemistry colleagues at the Emory Institute of Drug Development (EIDD) to engineer a solution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9780ADF8-E04A-C8AB-F23D-3C3960A3F2FB}"/>
              </a:ext>
            </a:extLst>
          </p:cNvPr>
          <p:cNvGrpSpPr/>
          <p:nvPr/>
        </p:nvGrpSpPr>
        <p:grpSpPr>
          <a:xfrm>
            <a:off x="267606" y="865712"/>
            <a:ext cx="805616" cy="611834"/>
            <a:chOff x="267606" y="865712"/>
            <a:chExt cx="805616" cy="611834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C927A6DA-591A-F835-FFE7-5A210B8CB9BD}"/>
                </a:ext>
              </a:extLst>
            </p:cNvPr>
            <p:cNvCxnSpPr>
              <a:stCxn id="10" idx="0"/>
            </p:cNvCxnSpPr>
            <p:nvPr/>
          </p:nvCxnSpPr>
          <p:spPr bwMode="auto">
            <a:xfrm flipH="1" flipV="1">
              <a:off x="756207" y="1171249"/>
              <a:ext cx="199206" cy="38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8" name="Google Shape;547;p3">
              <a:extLst>
                <a:ext uri="{FF2B5EF4-FFF2-40B4-BE49-F238E27FC236}">
                  <a16:creationId xmlns:a16="http://schemas.microsoft.com/office/drawing/2014/main" id="{55480312-13AF-45A5-698A-DAEC7F0A595F}"/>
                </a:ext>
              </a:extLst>
            </p:cNvPr>
            <p:cNvSpPr/>
            <p:nvPr/>
          </p:nvSpPr>
          <p:spPr>
            <a:xfrm rot="10800000" flipH="1">
              <a:off x="267606" y="865712"/>
              <a:ext cx="308864" cy="611834"/>
            </a:xfrm>
            <a:custGeom>
              <a:avLst/>
              <a:gdLst/>
              <a:ahLst/>
              <a:cxnLst/>
              <a:rect l="l" t="t" r="r" b="b"/>
              <a:pathLst>
                <a:path w="548958" h="1087438" extrusionOk="0">
                  <a:moveTo>
                    <a:pt x="543719" y="0"/>
                  </a:moveTo>
                  <a:lnTo>
                    <a:pt x="548958" y="528"/>
                  </a:lnTo>
                  <a:lnTo>
                    <a:pt x="548958" y="1086910"/>
                  </a:lnTo>
                  <a:lnTo>
                    <a:pt x="543719" y="1087438"/>
                  </a:lnTo>
                  <a:cubicBezTo>
                    <a:pt x="243431" y="1087438"/>
                    <a:pt x="0" y="844007"/>
                    <a:pt x="0" y="543719"/>
                  </a:cubicBezTo>
                  <a:cubicBezTo>
                    <a:pt x="0" y="243431"/>
                    <a:pt x="243431" y="0"/>
                    <a:pt x="543719" y="0"/>
                  </a:cubicBez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 defTabSz="914378">
                <a:buSzPts val="1800"/>
                <a:defRPr/>
              </a:pPr>
              <a:endParaRPr sz="1300" b="1" dirty="0">
                <a:solidFill>
                  <a:srgbClr val="FFFFFF"/>
                </a:solidFill>
                <a:latin typeface="+mn-lt"/>
                <a:ea typeface="Roboto Light" panose="02000000000000000000" pitchFamily="2" charset="0"/>
                <a:cs typeface="Roboto Light" panose="02000000000000000000" pitchFamily="2" charset="0"/>
                <a:sym typeface="Calibri"/>
              </a:endParaRPr>
            </a:p>
          </p:txBody>
        </p:sp>
        <p:sp>
          <p:nvSpPr>
            <p:cNvPr id="9" name="Google Shape;548;p3">
              <a:extLst>
                <a:ext uri="{FF2B5EF4-FFF2-40B4-BE49-F238E27FC236}">
                  <a16:creationId xmlns:a16="http://schemas.microsoft.com/office/drawing/2014/main" id="{E204C3B8-D9F3-E8A3-A9BE-9D50DEB497DE}"/>
                </a:ext>
              </a:extLst>
            </p:cNvPr>
            <p:cNvSpPr/>
            <p:nvPr/>
          </p:nvSpPr>
          <p:spPr>
            <a:xfrm rot="10800000" flipH="1">
              <a:off x="337474" y="935176"/>
              <a:ext cx="472758" cy="47290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>
              <a:outerShdw blurRad="50800" dist="38100" dir="5400000" algn="t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 defTabSz="914378">
                <a:buSzPts val="3600"/>
                <a:defRPr/>
              </a:pPr>
              <a:endParaRPr sz="1300" b="1" dirty="0">
                <a:solidFill>
                  <a:srgbClr val="DB0007"/>
                </a:solidFill>
                <a:latin typeface="+mn-lt"/>
                <a:ea typeface="Roboto Light" panose="02000000000000000000" pitchFamily="2" charset="0"/>
                <a:cs typeface="Roboto Light" panose="02000000000000000000" pitchFamily="2" charset="0"/>
                <a:sym typeface="Calibri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B40D400A-D8F0-DA0A-1DD1-400EAE457E5F}"/>
                </a:ext>
              </a:extLst>
            </p:cNvPr>
            <p:cNvSpPr/>
            <p:nvPr/>
          </p:nvSpPr>
          <p:spPr bwMode="auto">
            <a:xfrm rot="16200000">
              <a:off x="955414" y="1112725"/>
              <a:ext cx="117808" cy="117809"/>
            </a:xfrm>
            <a:prstGeom prst="ellipse">
              <a:avLst/>
            </a:prstGeom>
            <a:solidFill>
              <a:schemeClr val="bg1"/>
            </a:solidFill>
            <a:ln w="2857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0" bIns="45720" numCol="1" rtlCol="0" anchor="ctr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US" dirty="0">
                <a:solidFill>
                  <a:srgbClr val="FFFFFF"/>
                </a:solidFill>
                <a:latin typeface="+mn-lt"/>
                <a:ea typeface="ＭＳ Ｐゴシック" pitchFamily="-76" charset="-128"/>
              </a:endParaRP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8EBE757D-1579-10D3-4A20-5127D334A2F9}"/>
                </a:ext>
              </a:extLst>
            </p:cNvPr>
            <p:cNvGrpSpPr/>
            <p:nvPr/>
          </p:nvGrpSpPr>
          <p:grpSpPr>
            <a:xfrm>
              <a:off x="423816" y="1024325"/>
              <a:ext cx="300073" cy="294606"/>
              <a:chOff x="-4972959" y="223208"/>
              <a:chExt cx="3732304" cy="3664322"/>
            </a:xfrm>
            <a:solidFill>
              <a:srgbClr val="002060"/>
            </a:solidFill>
          </p:grpSpPr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B63DAE58-8FA4-FFAC-744B-D22310D6BC83}"/>
                  </a:ext>
                </a:extLst>
              </p:cNvPr>
              <p:cNvSpPr/>
              <p:nvPr/>
            </p:nvSpPr>
            <p:spPr>
              <a:xfrm>
                <a:off x="-4643732" y="2249473"/>
                <a:ext cx="1308891" cy="380106"/>
              </a:xfrm>
              <a:custGeom>
                <a:avLst/>
                <a:gdLst>
                  <a:gd name="connsiteX0" fmla="*/ 658352 w 1308891"/>
                  <a:gd name="connsiteY0" fmla="*/ 380105 h 380106"/>
                  <a:gd name="connsiteX1" fmla="*/ 466330 w 1308891"/>
                  <a:gd name="connsiteY1" fmla="*/ 239033 h 380106"/>
                  <a:gd name="connsiteX2" fmla="*/ 513345 w 1308891"/>
                  <a:gd name="connsiteY2" fmla="*/ 97961 h 380106"/>
                  <a:gd name="connsiteX3" fmla="*/ 532949 w 1308891"/>
                  <a:gd name="connsiteY3" fmla="*/ 47014 h 380106"/>
                  <a:gd name="connsiteX4" fmla="*/ 23507 w 1308891"/>
                  <a:gd name="connsiteY4" fmla="*/ 47014 h 380106"/>
                  <a:gd name="connsiteX5" fmla="*/ 0 w 1308891"/>
                  <a:gd name="connsiteY5" fmla="*/ 23507 h 380106"/>
                  <a:gd name="connsiteX6" fmla="*/ 23507 w 1308891"/>
                  <a:gd name="connsiteY6" fmla="*/ 0 h 380106"/>
                  <a:gd name="connsiteX7" fmla="*/ 544720 w 1308891"/>
                  <a:gd name="connsiteY7" fmla="*/ 0 h 380106"/>
                  <a:gd name="connsiteX8" fmla="*/ 560392 w 1308891"/>
                  <a:gd name="connsiteY8" fmla="*/ 7836 h 380106"/>
                  <a:gd name="connsiteX9" fmla="*/ 552556 w 1308891"/>
                  <a:gd name="connsiteY9" fmla="*/ 121470 h 380106"/>
                  <a:gd name="connsiteX10" fmla="*/ 513377 w 1308891"/>
                  <a:gd name="connsiteY10" fmla="*/ 239036 h 380106"/>
                  <a:gd name="connsiteX11" fmla="*/ 658380 w 1308891"/>
                  <a:gd name="connsiteY11" fmla="*/ 336998 h 380106"/>
                  <a:gd name="connsiteX12" fmla="*/ 803382 w 1308891"/>
                  <a:gd name="connsiteY12" fmla="*/ 223363 h 380106"/>
                  <a:gd name="connsiteX13" fmla="*/ 768107 w 1308891"/>
                  <a:gd name="connsiteY13" fmla="*/ 125401 h 380106"/>
                  <a:gd name="connsiteX14" fmla="*/ 760271 w 1308891"/>
                  <a:gd name="connsiteY14" fmla="*/ 7836 h 380106"/>
                  <a:gd name="connsiteX15" fmla="*/ 775943 w 1308891"/>
                  <a:gd name="connsiteY15" fmla="*/ 0 h 380106"/>
                  <a:gd name="connsiteX16" fmla="*/ 1285384 w 1308891"/>
                  <a:gd name="connsiteY16" fmla="*/ 0 h 380106"/>
                  <a:gd name="connsiteX17" fmla="*/ 1308892 w 1308891"/>
                  <a:gd name="connsiteY17" fmla="*/ 23507 h 380106"/>
                  <a:gd name="connsiteX18" fmla="*/ 1285384 w 1308891"/>
                  <a:gd name="connsiteY18" fmla="*/ 47014 h 380106"/>
                  <a:gd name="connsiteX19" fmla="*/ 783746 w 1308891"/>
                  <a:gd name="connsiteY19" fmla="*/ 47014 h 380106"/>
                  <a:gd name="connsiteX20" fmla="*/ 803350 w 1308891"/>
                  <a:gd name="connsiteY20" fmla="*/ 101865 h 380106"/>
                  <a:gd name="connsiteX21" fmla="*/ 846461 w 1308891"/>
                  <a:gd name="connsiteY21" fmla="*/ 223362 h 380106"/>
                  <a:gd name="connsiteX22" fmla="*/ 658342 w 1308891"/>
                  <a:gd name="connsiteY22" fmla="*/ 380106 h 3801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308891" h="380106">
                    <a:moveTo>
                      <a:pt x="658352" y="380105"/>
                    </a:moveTo>
                    <a:cubicBezTo>
                      <a:pt x="579965" y="380105"/>
                      <a:pt x="466330" y="340926"/>
                      <a:pt x="466330" y="239033"/>
                    </a:cubicBezTo>
                    <a:cubicBezTo>
                      <a:pt x="466330" y="176318"/>
                      <a:pt x="493770" y="133239"/>
                      <a:pt x="513345" y="97961"/>
                    </a:cubicBezTo>
                    <a:cubicBezTo>
                      <a:pt x="532949" y="66618"/>
                      <a:pt x="536852" y="54850"/>
                      <a:pt x="532949" y="47014"/>
                    </a:cubicBezTo>
                    <a:lnTo>
                      <a:pt x="23507" y="47014"/>
                    </a:lnTo>
                    <a:cubicBezTo>
                      <a:pt x="11739" y="47014"/>
                      <a:pt x="0" y="35246"/>
                      <a:pt x="0" y="23507"/>
                    </a:cubicBezTo>
                    <a:cubicBezTo>
                      <a:pt x="0" y="11739"/>
                      <a:pt x="11768" y="0"/>
                      <a:pt x="23507" y="0"/>
                    </a:cubicBezTo>
                    <a:lnTo>
                      <a:pt x="544720" y="0"/>
                    </a:lnTo>
                    <a:cubicBezTo>
                      <a:pt x="552556" y="0"/>
                      <a:pt x="556489" y="3932"/>
                      <a:pt x="560392" y="7836"/>
                    </a:cubicBezTo>
                    <a:cubicBezTo>
                      <a:pt x="595667" y="47014"/>
                      <a:pt x="572160" y="86223"/>
                      <a:pt x="552556" y="121470"/>
                    </a:cubicBezTo>
                    <a:cubicBezTo>
                      <a:pt x="532952" y="152813"/>
                      <a:pt x="513377" y="188089"/>
                      <a:pt x="513377" y="239036"/>
                    </a:cubicBezTo>
                    <a:cubicBezTo>
                      <a:pt x="513377" y="317423"/>
                      <a:pt x="619172" y="336998"/>
                      <a:pt x="658380" y="336998"/>
                    </a:cubicBezTo>
                    <a:cubicBezTo>
                      <a:pt x="697559" y="336998"/>
                      <a:pt x="803382" y="317393"/>
                      <a:pt x="803382" y="223363"/>
                    </a:cubicBezTo>
                    <a:cubicBezTo>
                      <a:pt x="803382" y="188087"/>
                      <a:pt x="783778" y="152812"/>
                      <a:pt x="768107" y="125401"/>
                    </a:cubicBezTo>
                    <a:cubicBezTo>
                      <a:pt x="744600" y="86223"/>
                      <a:pt x="721092" y="43113"/>
                      <a:pt x="760271" y="7836"/>
                    </a:cubicBezTo>
                    <a:cubicBezTo>
                      <a:pt x="764203" y="3903"/>
                      <a:pt x="772039" y="0"/>
                      <a:pt x="775943" y="0"/>
                    </a:cubicBezTo>
                    <a:lnTo>
                      <a:pt x="1285384" y="0"/>
                    </a:lnTo>
                    <a:cubicBezTo>
                      <a:pt x="1297152" y="0"/>
                      <a:pt x="1308892" y="11768"/>
                      <a:pt x="1308892" y="23507"/>
                    </a:cubicBezTo>
                    <a:cubicBezTo>
                      <a:pt x="1308892" y="35275"/>
                      <a:pt x="1297123" y="47014"/>
                      <a:pt x="1285384" y="47014"/>
                    </a:cubicBezTo>
                    <a:lnTo>
                      <a:pt x="783746" y="47014"/>
                    </a:lnTo>
                    <a:cubicBezTo>
                      <a:pt x="779814" y="54850"/>
                      <a:pt x="787678" y="70522"/>
                      <a:pt x="803350" y="101865"/>
                    </a:cubicBezTo>
                    <a:cubicBezTo>
                      <a:pt x="822954" y="133208"/>
                      <a:pt x="846461" y="176321"/>
                      <a:pt x="846461" y="223362"/>
                    </a:cubicBezTo>
                    <a:cubicBezTo>
                      <a:pt x="846461" y="336996"/>
                      <a:pt x="732797" y="380106"/>
                      <a:pt x="658342" y="380106"/>
                    </a:cubicBezTo>
                    <a:close/>
                  </a:path>
                </a:pathLst>
              </a:custGeom>
              <a:grpFill/>
              <a:ln w="7348" cap="flat">
                <a:solidFill>
                  <a:srgbClr val="0414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762D64F2-E108-9142-1ABE-8062D73A4932}"/>
                  </a:ext>
                </a:extLst>
              </p:cNvPr>
              <p:cNvSpPr/>
              <p:nvPr/>
            </p:nvSpPr>
            <p:spPr>
              <a:xfrm>
                <a:off x="-4643728" y="3170379"/>
                <a:ext cx="1304963" cy="380106"/>
              </a:xfrm>
              <a:custGeom>
                <a:avLst/>
                <a:gdLst>
                  <a:gd name="connsiteX0" fmla="*/ 1281446 w 1304963"/>
                  <a:gd name="connsiteY0" fmla="*/ 380105 h 380106"/>
                  <a:gd name="connsiteX1" fmla="*/ 772004 w 1304963"/>
                  <a:gd name="connsiteY1" fmla="*/ 380105 h 380106"/>
                  <a:gd name="connsiteX2" fmla="*/ 756333 w 1304963"/>
                  <a:gd name="connsiteY2" fmla="*/ 372269 h 380106"/>
                  <a:gd name="connsiteX3" fmla="*/ 764168 w 1304963"/>
                  <a:gd name="connsiteY3" fmla="*/ 254703 h 380106"/>
                  <a:gd name="connsiteX4" fmla="*/ 799444 w 1304963"/>
                  <a:gd name="connsiteY4" fmla="*/ 156742 h 380106"/>
                  <a:gd name="connsiteX5" fmla="*/ 654441 w 1304963"/>
                  <a:gd name="connsiteY5" fmla="*/ 43107 h 380106"/>
                  <a:gd name="connsiteX6" fmla="*/ 509439 w 1304963"/>
                  <a:gd name="connsiteY6" fmla="*/ 141069 h 380106"/>
                  <a:gd name="connsiteX7" fmla="*/ 548618 w 1304963"/>
                  <a:gd name="connsiteY7" fmla="*/ 258634 h 380106"/>
                  <a:gd name="connsiteX8" fmla="*/ 556453 w 1304963"/>
                  <a:gd name="connsiteY8" fmla="*/ 372269 h 380106"/>
                  <a:gd name="connsiteX9" fmla="*/ 540782 w 1304963"/>
                  <a:gd name="connsiteY9" fmla="*/ 380105 h 380106"/>
                  <a:gd name="connsiteX10" fmla="*/ 23507 w 1304963"/>
                  <a:gd name="connsiteY10" fmla="*/ 380105 h 380106"/>
                  <a:gd name="connsiteX11" fmla="*/ 0 w 1304963"/>
                  <a:gd name="connsiteY11" fmla="*/ 356597 h 380106"/>
                  <a:gd name="connsiteX12" fmla="*/ 23507 w 1304963"/>
                  <a:gd name="connsiteY12" fmla="*/ 333090 h 380106"/>
                  <a:gd name="connsiteX13" fmla="*/ 532949 w 1304963"/>
                  <a:gd name="connsiteY13" fmla="*/ 333090 h 380106"/>
                  <a:gd name="connsiteX14" fmla="*/ 513345 w 1304963"/>
                  <a:gd name="connsiteY14" fmla="*/ 282143 h 380106"/>
                  <a:gd name="connsiteX15" fmla="*/ 466330 w 1304963"/>
                  <a:gd name="connsiteY15" fmla="*/ 141072 h 380106"/>
                  <a:gd name="connsiteX16" fmla="*/ 658352 w 1304963"/>
                  <a:gd name="connsiteY16" fmla="*/ 0 h 380106"/>
                  <a:gd name="connsiteX17" fmla="*/ 846472 w 1304963"/>
                  <a:gd name="connsiteY17" fmla="*/ 156745 h 380106"/>
                  <a:gd name="connsiteX18" fmla="*/ 803360 w 1304963"/>
                  <a:gd name="connsiteY18" fmla="*/ 278241 h 380106"/>
                  <a:gd name="connsiteX19" fmla="*/ 783756 w 1304963"/>
                  <a:gd name="connsiteY19" fmla="*/ 333092 h 380106"/>
                  <a:gd name="connsiteX20" fmla="*/ 1281456 w 1304963"/>
                  <a:gd name="connsiteY20" fmla="*/ 333092 h 380106"/>
                  <a:gd name="connsiteX21" fmla="*/ 1304963 w 1304963"/>
                  <a:gd name="connsiteY21" fmla="*/ 356599 h 380106"/>
                  <a:gd name="connsiteX22" fmla="*/ 1281456 w 1304963"/>
                  <a:gd name="connsiteY22" fmla="*/ 380106 h 3801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304963" h="380106">
                    <a:moveTo>
                      <a:pt x="1281446" y="380105"/>
                    </a:moveTo>
                    <a:lnTo>
                      <a:pt x="772004" y="380105"/>
                    </a:lnTo>
                    <a:cubicBezTo>
                      <a:pt x="768072" y="380105"/>
                      <a:pt x="760236" y="376172"/>
                      <a:pt x="756333" y="372269"/>
                    </a:cubicBezTo>
                    <a:cubicBezTo>
                      <a:pt x="721057" y="336993"/>
                      <a:pt x="744564" y="293882"/>
                      <a:pt x="764168" y="254703"/>
                    </a:cubicBezTo>
                    <a:cubicBezTo>
                      <a:pt x="779840" y="227263"/>
                      <a:pt x="799444" y="191988"/>
                      <a:pt x="799444" y="156742"/>
                    </a:cubicBezTo>
                    <a:cubicBezTo>
                      <a:pt x="799444" y="66613"/>
                      <a:pt x="697551" y="43107"/>
                      <a:pt x="654441" y="43107"/>
                    </a:cubicBezTo>
                    <a:cubicBezTo>
                      <a:pt x="615263" y="43107"/>
                      <a:pt x="509439" y="58778"/>
                      <a:pt x="509439" y="141069"/>
                    </a:cubicBezTo>
                    <a:cubicBezTo>
                      <a:pt x="509439" y="192016"/>
                      <a:pt x="529043" y="227288"/>
                      <a:pt x="548618" y="258634"/>
                    </a:cubicBezTo>
                    <a:cubicBezTo>
                      <a:pt x="568222" y="293910"/>
                      <a:pt x="591729" y="333090"/>
                      <a:pt x="556453" y="372269"/>
                    </a:cubicBezTo>
                    <a:cubicBezTo>
                      <a:pt x="552521" y="376201"/>
                      <a:pt x="544685" y="380105"/>
                      <a:pt x="540782" y="380105"/>
                    </a:cubicBezTo>
                    <a:lnTo>
                      <a:pt x="23507" y="380105"/>
                    </a:lnTo>
                    <a:cubicBezTo>
                      <a:pt x="11739" y="380105"/>
                      <a:pt x="0" y="368336"/>
                      <a:pt x="0" y="356597"/>
                    </a:cubicBezTo>
                    <a:cubicBezTo>
                      <a:pt x="0" y="344829"/>
                      <a:pt x="11768" y="333090"/>
                      <a:pt x="23507" y="333090"/>
                    </a:cubicBezTo>
                    <a:lnTo>
                      <a:pt x="532949" y="333090"/>
                    </a:lnTo>
                    <a:cubicBezTo>
                      <a:pt x="536881" y="325254"/>
                      <a:pt x="532949" y="313486"/>
                      <a:pt x="513345" y="282143"/>
                    </a:cubicBezTo>
                    <a:cubicBezTo>
                      <a:pt x="493741" y="250800"/>
                      <a:pt x="466330" y="203756"/>
                      <a:pt x="466330" y="141072"/>
                    </a:cubicBezTo>
                    <a:cubicBezTo>
                      <a:pt x="466330" y="35277"/>
                      <a:pt x="579965" y="0"/>
                      <a:pt x="658352" y="0"/>
                    </a:cubicBezTo>
                    <a:cubicBezTo>
                      <a:pt x="732808" y="0"/>
                      <a:pt x="846472" y="43111"/>
                      <a:pt x="846472" y="156745"/>
                    </a:cubicBezTo>
                    <a:cubicBezTo>
                      <a:pt x="846472" y="203759"/>
                      <a:pt x="822965" y="246873"/>
                      <a:pt x="803360" y="278241"/>
                    </a:cubicBezTo>
                    <a:cubicBezTo>
                      <a:pt x="783756" y="309584"/>
                      <a:pt x="779853" y="325256"/>
                      <a:pt x="783756" y="333092"/>
                    </a:cubicBezTo>
                    <a:lnTo>
                      <a:pt x="1281456" y="333092"/>
                    </a:lnTo>
                    <a:cubicBezTo>
                      <a:pt x="1293224" y="333092"/>
                      <a:pt x="1304963" y="344860"/>
                      <a:pt x="1304963" y="356599"/>
                    </a:cubicBezTo>
                    <a:cubicBezTo>
                      <a:pt x="1304963" y="368367"/>
                      <a:pt x="1293195" y="380106"/>
                      <a:pt x="1281456" y="380106"/>
                    </a:cubicBezTo>
                    <a:close/>
                  </a:path>
                </a:pathLst>
              </a:custGeom>
              <a:grpFill/>
              <a:ln w="7348" cap="flat">
                <a:solidFill>
                  <a:srgbClr val="0414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667E6B96-A2CE-B0B4-D780-18E8B0D3B97C}"/>
                  </a:ext>
                </a:extLst>
              </p:cNvPr>
              <p:cNvSpPr/>
              <p:nvPr/>
            </p:nvSpPr>
            <p:spPr>
              <a:xfrm>
                <a:off x="-4972959" y="2249423"/>
                <a:ext cx="419315" cy="1301061"/>
              </a:xfrm>
              <a:custGeom>
                <a:avLst/>
                <a:gdLst>
                  <a:gd name="connsiteX0" fmla="*/ 352724 w 419315"/>
                  <a:gd name="connsiteY0" fmla="*/ 1301062 h 1301061"/>
                  <a:gd name="connsiteX1" fmla="*/ 329216 w 419315"/>
                  <a:gd name="connsiteY1" fmla="*/ 1277554 h 1301061"/>
                  <a:gd name="connsiteX2" fmla="*/ 376231 w 419315"/>
                  <a:gd name="connsiteY2" fmla="*/ 803360 h 1301061"/>
                  <a:gd name="connsiteX3" fmla="*/ 325284 w 419315"/>
                  <a:gd name="connsiteY3" fmla="*/ 815129 h 1301061"/>
                  <a:gd name="connsiteX4" fmla="*/ 239064 w 419315"/>
                  <a:gd name="connsiteY4" fmla="*/ 846472 h 1301061"/>
                  <a:gd name="connsiteX5" fmla="*/ 62715 w 419315"/>
                  <a:gd name="connsiteY5" fmla="*/ 811196 h 1301061"/>
                  <a:gd name="connsiteX6" fmla="*/ 0 w 419315"/>
                  <a:gd name="connsiteY6" fmla="*/ 658353 h 1301061"/>
                  <a:gd name="connsiteX7" fmla="*/ 66619 w 419315"/>
                  <a:gd name="connsiteY7" fmla="*/ 505511 h 1301061"/>
                  <a:gd name="connsiteX8" fmla="*/ 231196 w 419315"/>
                  <a:gd name="connsiteY8" fmla="*/ 466332 h 1301061"/>
                  <a:gd name="connsiteX9" fmla="*/ 321325 w 419315"/>
                  <a:gd name="connsiteY9" fmla="*/ 497675 h 1301061"/>
                  <a:gd name="connsiteX10" fmla="*/ 384040 w 419315"/>
                  <a:gd name="connsiteY10" fmla="*/ 509443 h 1301061"/>
                  <a:gd name="connsiteX11" fmla="*/ 329190 w 419315"/>
                  <a:gd name="connsiteY11" fmla="*/ 23507 h 1301061"/>
                  <a:gd name="connsiteX12" fmla="*/ 348794 w 419315"/>
                  <a:gd name="connsiteY12" fmla="*/ 0 h 1301061"/>
                  <a:gd name="connsiteX13" fmla="*/ 372301 w 419315"/>
                  <a:gd name="connsiteY13" fmla="*/ 19604 h 1301061"/>
                  <a:gd name="connsiteX14" fmla="*/ 419316 w 419315"/>
                  <a:gd name="connsiteY14" fmla="*/ 517304 h 1301061"/>
                  <a:gd name="connsiteX15" fmla="*/ 411480 w 419315"/>
                  <a:gd name="connsiteY15" fmla="*/ 536908 h 1301061"/>
                  <a:gd name="connsiteX16" fmla="*/ 289983 w 419315"/>
                  <a:gd name="connsiteY16" fmla="*/ 536908 h 1301061"/>
                  <a:gd name="connsiteX17" fmla="*/ 211596 w 419315"/>
                  <a:gd name="connsiteY17" fmla="*/ 509468 h 1301061"/>
                  <a:gd name="connsiteX18" fmla="*/ 86198 w 419315"/>
                  <a:gd name="connsiteY18" fmla="*/ 536908 h 1301061"/>
                  <a:gd name="connsiteX19" fmla="*/ 35251 w 419315"/>
                  <a:gd name="connsiteY19" fmla="*/ 654473 h 1301061"/>
                  <a:gd name="connsiteX20" fmla="*/ 82265 w 419315"/>
                  <a:gd name="connsiteY20" fmla="*/ 772039 h 1301061"/>
                  <a:gd name="connsiteX21" fmla="*/ 223337 w 419315"/>
                  <a:gd name="connsiteY21" fmla="*/ 795547 h 1301061"/>
                  <a:gd name="connsiteX22" fmla="*/ 297793 w 419315"/>
                  <a:gd name="connsiteY22" fmla="*/ 768107 h 1301061"/>
                  <a:gd name="connsiteX23" fmla="*/ 407525 w 419315"/>
                  <a:gd name="connsiteY23" fmla="*/ 772039 h 1301061"/>
                  <a:gd name="connsiteX24" fmla="*/ 415361 w 419315"/>
                  <a:gd name="connsiteY24" fmla="*/ 791643 h 1301061"/>
                  <a:gd name="connsiteX25" fmla="*/ 368347 w 419315"/>
                  <a:gd name="connsiteY25" fmla="*/ 1277579 h 1301061"/>
                  <a:gd name="connsiteX26" fmla="*/ 352732 w 419315"/>
                  <a:gd name="connsiteY26" fmla="*/ 1301058 h 1301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419315" h="1301061">
                    <a:moveTo>
                      <a:pt x="352724" y="1301062"/>
                    </a:moveTo>
                    <a:cubicBezTo>
                      <a:pt x="337052" y="1301062"/>
                      <a:pt x="329216" y="1289293"/>
                      <a:pt x="329216" y="1277554"/>
                    </a:cubicBezTo>
                    <a:lnTo>
                      <a:pt x="376231" y="803360"/>
                    </a:lnTo>
                    <a:cubicBezTo>
                      <a:pt x="364463" y="795525"/>
                      <a:pt x="352724" y="799428"/>
                      <a:pt x="325284" y="815129"/>
                    </a:cubicBezTo>
                    <a:cubicBezTo>
                      <a:pt x="301777" y="826897"/>
                      <a:pt x="274337" y="838636"/>
                      <a:pt x="239064" y="846472"/>
                    </a:cubicBezTo>
                    <a:cubicBezTo>
                      <a:pt x="164608" y="858240"/>
                      <a:pt x="105825" y="846472"/>
                      <a:pt x="62715" y="811196"/>
                    </a:cubicBezTo>
                    <a:cubicBezTo>
                      <a:pt x="3933" y="760249"/>
                      <a:pt x="0" y="681859"/>
                      <a:pt x="0" y="658353"/>
                    </a:cubicBezTo>
                    <a:cubicBezTo>
                      <a:pt x="0" y="611339"/>
                      <a:pt x="15672" y="544719"/>
                      <a:pt x="66619" y="505511"/>
                    </a:cubicBezTo>
                    <a:cubicBezTo>
                      <a:pt x="105797" y="470235"/>
                      <a:pt x="160679" y="458496"/>
                      <a:pt x="231196" y="466332"/>
                    </a:cubicBezTo>
                    <a:cubicBezTo>
                      <a:pt x="270375" y="470264"/>
                      <a:pt x="297815" y="485936"/>
                      <a:pt x="321325" y="497675"/>
                    </a:cubicBezTo>
                    <a:cubicBezTo>
                      <a:pt x="356600" y="513346"/>
                      <a:pt x="368339" y="517279"/>
                      <a:pt x="384040" y="509443"/>
                    </a:cubicBezTo>
                    <a:lnTo>
                      <a:pt x="329190" y="23507"/>
                    </a:lnTo>
                    <a:cubicBezTo>
                      <a:pt x="329190" y="11739"/>
                      <a:pt x="337026" y="0"/>
                      <a:pt x="348794" y="0"/>
                    </a:cubicBezTo>
                    <a:cubicBezTo>
                      <a:pt x="360562" y="0"/>
                      <a:pt x="372301" y="7836"/>
                      <a:pt x="372301" y="19604"/>
                    </a:cubicBezTo>
                    <a:lnTo>
                      <a:pt x="419316" y="517304"/>
                    </a:lnTo>
                    <a:cubicBezTo>
                      <a:pt x="419316" y="525140"/>
                      <a:pt x="419316" y="532975"/>
                      <a:pt x="411480" y="536908"/>
                    </a:cubicBezTo>
                    <a:cubicBezTo>
                      <a:pt x="368369" y="576087"/>
                      <a:pt x="329191" y="556512"/>
                      <a:pt x="289983" y="536908"/>
                    </a:cubicBezTo>
                    <a:cubicBezTo>
                      <a:pt x="266476" y="525140"/>
                      <a:pt x="242969" y="513401"/>
                      <a:pt x="211596" y="509468"/>
                    </a:cubicBezTo>
                    <a:cubicBezTo>
                      <a:pt x="156746" y="501632"/>
                      <a:pt x="113635" y="509468"/>
                      <a:pt x="86198" y="536908"/>
                    </a:cubicBezTo>
                    <a:cubicBezTo>
                      <a:pt x="50922" y="568251"/>
                      <a:pt x="35251" y="619196"/>
                      <a:pt x="35251" y="654473"/>
                    </a:cubicBezTo>
                    <a:cubicBezTo>
                      <a:pt x="35251" y="674078"/>
                      <a:pt x="39183" y="736762"/>
                      <a:pt x="82265" y="772039"/>
                    </a:cubicBezTo>
                    <a:cubicBezTo>
                      <a:pt x="113608" y="799479"/>
                      <a:pt x="160652" y="807315"/>
                      <a:pt x="223337" y="795547"/>
                    </a:cubicBezTo>
                    <a:cubicBezTo>
                      <a:pt x="254680" y="791614"/>
                      <a:pt x="278187" y="779875"/>
                      <a:pt x="297793" y="768107"/>
                    </a:cubicBezTo>
                    <a:cubicBezTo>
                      <a:pt x="333068" y="752435"/>
                      <a:pt x="368344" y="732831"/>
                      <a:pt x="407525" y="772039"/>
                    </a:cubicBezTo>
                    <a:cubicBezTo>
                      <a:pt x="411458" y="775971"/>
                      <a:pt x="415361" y="783807"/>
                      <a:pt x="415361" y="791643"/>
                    </a:cubicBezTo>
                    <a:lnTo>
                      <a:pt x="368347" y="1277579"/>
                    </a:lnTo>
                    <a:cubicBezTo>
                      <a:pt x="376240" y="1293222"/>
                      <a:pt x="364472" y="1301058"/>
                      <a:pt x="352732" y="1301058"/>
                    </a:cubicBezTo>
                    <a:close/>
                  </a:path>
                </a:pathLst>
              </a:custGeom>
              <a:grpFill/>
              <a:ln w="7348" cap="flat">
                <a:solidFill>
                  <a:srgbClr val="0414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140FC141-3B6D-6255-3D01-A2D45F20B83E}"/>
                  </a:ext>
                </a:extLst>
              </p:cNvPr>
              <p:cNvSpPr/>
              <p:nvPr/>
            </p:nvSpPr>
            <p:spPr>
              <a:xfrm>
                <a:off x="-3432864" y="2252537"/>
                <a:ext cx="427151" cy="1297953"/>
              </a:xfrm>
              <a:custGeom>
                <a:avLst/>
                <a:gdLst>
                  <a:gd name="connsiteX0" fmla="*/ 74476 w 427151"/>
                  <a:gd name="connsiteY0" fmla="*/ 1297947 h 1297953"/>
                  <a:gd name="connsiteX1" fmla="*/ 50969 w 427151"/>
                  <a:gd name="connsiteY1" fmla="*/ 1278343 h 1297953"/>
                  <a:gd name="connsiteX2" fmla="*/ 3955 w 427151"/>
                  <a:gd name="connsiteY2" fmla="*/ 792407 h 1297953"/>
                  <a:gd name="connsiteX3" fmla="*/ 11790 w 427151"/>
                  <a:gd name="connsiteY3" fmla="*/ 772803 h 1297953"/>
                  <a:gd name="connsiteX4" fmla="*/ 121523 w 427151"/>
                  <a:gd name="connsiteY4" fmla="*/ 768871 h 1297953"/>
                  <a:gd name="connsiteX5" fmla="*/ 195979 w 427151"/>
                  <a:gd name="connsiteY5" fmla="*/ 796311 h 1297953"/>
                  <a:gd name="connsiteX6" fmla="*/ 337051 w 427151"/>
                  <a:gd name="connsiteY6" fmla="*/ 772803 h 1297953"/>
                  <a:gd name="connsiteX7" fmla="*/ 384065 w 427151"/>
                  <a:gd name="connsiteY7" fmla="*/ 655238 h 1297953"/>
                  <a:gd name="connsiteX8" fmla="*/ 333118 w 427151"/>
                  <a:gd name="connsiteY8" fmla="*/ 537672 h 1297953"/>
                  <a:gd name="connsiteX9" fmla="*/ 207720 w 427151"/>
                  <a:gd name="connsiteY9" fmla="*/ 510232 h 1297953"/>
                  <a:gd name="connsiteX10" fmla="*/ 129333 w 427151"/>
                  <a:gd name="connsiteY10" fmla="*/ 537672 h 1297953"/>
                  <a:gd name="connsiteX11" fmla="*/ 7836 w 427151"/>
                  <a:gd name="connsiteY11" fmla="*/ 537672 h 1297953"/>
                  <a:gd name="connsiteX12" fmla="*/ 0 w 427151"/>
                  <a:gd name="connsiteY12" fmla="*/ 518068 h 1297953"/>
                  <a:gd name="connsiteX13" fmla="*/ 47015 w 427151"/>
                  <a:gd name="connsiteY13" fmla="*/ 20368 h 1297953"/>
                  <a:gd name="connsiteX14" fmla="*/ 70522 w 427151"/>
                  <a:gd name="connsiteY14" fmla="*/ 764 h 1297953"/>
                  <a:gd name="connsiteX15" fmla="*/ 90126 w 427151"/>
                  <a:gd name="connsiteY15" fmla="*/ 24271 h 1297953"/>
                  <a:gd name="connsiteX16" fmla="*/ 43111 w 427151"/>
                  <a:gd name="connsiteY16" fmla="*/ 510207 h 1297953"/>
                  <a:gd name="connsiteX17" fmla="*/ 105827 w 427151"/>
                  <a:gd name="connsiteY17" fmla="*/ 498439 h 1297953"/>
                  <a:gd name="connsiteX18" fmla="*/ 195956 w 427151"/>
                  <a:gd name="connsiteY18" fmla="*/ 467096 h 1297953"/>
                  <a:gd name="connsiteX19" fmla="*/ 360533 w 427151"/>
                  <a:gd name="connsiteY19" fmla="*/ 506275 h 1297953"/>
                  <a:gd name="connsiteX20" fmla="*/ 427152 w 427151"/>
                  <a:gd name="connsiteY20" fmla="*/ 659117 h 1297953"/>
                  <a:gd name="connsiteX21" fmla="*/ 364436 w 427151"/>
                  <a:gd name="connsiteY21" fmla="*/ 811960 h 1297953"/>
                  <a:gd name="connsiteX22" fmla="*/ 188087 w 427151"/>
                  <a:gd name="connsiteY22" fmla="*/ 847236 h 1297953"/>
                  <a:gd name="connsiteX23" fmla="*/ 101868 w 427151"/>
                  <a:gd name="connsiteY23" fmla="*/ 815893 h 1297953"/>
                  <a:gd name="connsiteX24" fmla="*/ 50921 w 427151"/>
                  <a:gd name="connsiteY24" fmla="*/ 804124 h 1297953"/>
                  <a:gd name="connsiteX25" fmla="*/ 98022 w 427151"/>
                  <a:gd name="connsiteY25" fmla="*/ 1274446 h 1297953"/>
                  <a:gd name="connsiteX26" fmla="*/ 74486 w 427151"/>
                  <a:gd name="connsiteY26" fmla="*/ 1297953 h 1297953"/>
                  <a:gd name="connsiteX27" fmla="*/ 74486 w 427151"/>
                  <a:gd name="connsiteY27" fmla="*/ 1297953 h 1297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27151" h="1297953">
                    <a:moveTo>
                      <a:pt x="74476" y="1297947"/>
                    </a:moveTo>
                    <a:cubicBezTo>
                      <a:pt x="62708" y="1297947"/>
                      <a:pt x="54872" y="1290111"/>
                      <a:pt x="50969" y="1278343"/>
                    </a:cubicBezTo>
                    <a:lnTo>
                      <a:pt x="3955" y="792407"/>
                    </a:lnTo>
                    <a:cubicBezTo>
                      <a:pt x="3955" y="784572"/>
                      <a:pt x="3955" y="780639"/>
                      <a:pt x="11790" y="772803"/>
                    </a:cubicBezTo>
                    <a:cubicBezTo>
                      <a:pt x="50969" y="733624"/>
                      <a:pt x="86246" y="749296"/>
                      <a:pt x="121523" y="768871"/>
                    </a:cubicBezTo>
                    <a:cubicBezTo>
                      <a:pt x="141127" y="780639"/>
                      <a:pt x="168538" y="788475"/>
                      <a:pt x="195979" y="796311"/>
                    </a:cubicBezTo>
                    <a:cubicBezTo>
                      <a:pt x="258695" y="808079"/>
                      <a:pt x="305712" y="800243"/>
                      <a:pt x="337051" y="772803"/>
                    </a:cubicBezTo>
                    <a:cubicBezTo>
                      <a:pt x="380162" y="733625"/>
                      <a:pt x="384065" y="670911"/>
                      <a:pt x="384065" y="655238"/>
                    </a:cubicBezTo>
                    <a:cubicBezTo>
                      <a:pt x="384065" y="616059"/>
                      <a:pt x="372297" y="569018"/>
                      <a:pt x="333118" y="537672"/>
                    </a:cubicBezTo>
                    <a:cubicBezTo>
                      <a:pt x="301775" y="510232"/>
                      <a:pt x="258662" y="502396"/>
                      <a:pt x="207720" y="510232"/>
                    </a:cubicBezTo>
                    <a:cubicBezTo>
                      <a:pt x="176377" y="514164"/>
                      <a:pt x="152869" y="525904"/>
                      <a:pt x="129333" y="537672"/>
                    </a:cubicBezTo>
                    <a:cubicBezTo>
                      <a:pt x="90154" y="557276"/>
                      <a:pt x="50946" y="572947"/>
                      <a:pt x="7836" y="537672"/>
                    </a:cubicBezTo>
                    <a:cubicBezTo>
                      <a:pt x="3904" y="533740"/>
                      <a:pt x="0" y="525904"/>
                      <a:pt x="0" y="518068"/>
                    </a:cubicBezTo>
                    <a:lnTo>
                      <a:pt x="47015" y="20368"/>
                    </a:lnTo>
                    <a:cubicBezTo>
                      <a:pt x="47015" y="8600"/>
                      <a:pt x="58783" y="-3139"/>
                      <a:pt x="70522" y="764"/>
                    </a:cubicBezTo>
                    <a:cubicBezTo>
                      <a:pt x="82290" y="764"/>
                      <a:pt x="90126" y="12532"/>
                      <a:pt x="90126" y="24271"/>
                    </a:cubicBezTo>
                    <a:lnTo>
                      <a:pt x="43111" y="510207"/>
                    </a:lnTo>
                    <a:cubicBezTo>
                      <a:pt x="54880" y="518043"/>
                      <a:pt x="70551" y="514139"/>
                      <a:pt x="105827" y="498439"/>
                    </a:cubicBezTo>
                    <a:cubicBezTo>
                      <a:pt x="129334" y="486670"/>
                      <a:pt x="160677" y="474932"/>
                      <a:pt x="195956" y="467096"/>
                    </a:cubicBezTo>
                    <a:cubicBezTo>
                      <a:pt x="262574" y="455327"/>
                      <a:pt x="317452" y="471028"/>
                      <a:pt x="360533" y="506275"/>
                    </a:cubicBezTo>
                    <a:cubicBezTo>
                      <a:pt x="407548" y="549386"/>
                      <a:pt x="427152" y="612069"/>
                      <a:pt x="427152" y="659117"/>
                    </a:cubicBezTo>
                    <a:cubicBezTo>
                      <a:pt x="427152" y="682625"/>
                      <a:pt x="423219" y="761010"/>
                      <a:pt x="364436" y="811960"/>
                    </a:cubicBezTo>
                    <a:cubicBezTo>
                      <a:pt x="321325" y="847236"/>
                      <a:pt x="262544" y="858975"/>
                      <a:pt x="188087" y="847236"/>
                    </a:cubicBezTo>
                    <a:cubicBezTo>
                      <a:pt x="152812" y="839400"/>
                      <a:pt x="121469" y="827632"/>
                      <a:pt x="101868" y="815893"/>
                    </a:cubicBezTo>
                    <a:cubicBezTo>
                      <a:pt x="70525" y="800221"/>
                      <a:pt x="62689" y="796289"/>
                      <a:pt x="50921" y="804124"/>
                    </a:cubicBezTo>
                    <a:lnTo>
                      <a:pt x="98022" y="1274446"/>
                    </a:lnTo>
                    <a:cubicBezTo>
                      <a:pt x="98022" y="1286214"/>
                      <a:pt x="90186" y="1297953"/>
                      <a:pt x="74486" y="1297953"/>
                    </a:cubicBezTo>
                    <a:cubicBezTo>
                      <a:pt x="78418" y="1297953"/>
                      <a:pt x="74486" y="1297953"/>
                      <a:pt x="74486" y="1297953"/>
                    </a:cubicBezTo>
                    <a:close/>
                  </a:path>
                </a:pathLst>
              </a:custGeom>
              <a:grpFill/>
              <a:ln w="7348" cap="flat">
                <a:solidFill>
                  <a:srgbClr val="0414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B55B6E4B-1584-39BC-1F61-A0F5FCD04E12}"/>
                  </a:ext>
                </a:extLst>
              </p:cNvPr>
              <p:cNvSpPr/>
              <p:nvPr/>
            </p:nvSpPr>
            <p:spPr>
              <a:xfrm>
                <a:off x="-3049187" y="230819"/>
                <a:ext cx="1078384" cy="764526"/>
              </a:xfrm>
              <a:custGeom>
                <a:avLst/>
                <a:gdLst>
                  <a:gd name="connsiteX0" fmla="*/ 23878 w 1078384"/>
                  <a:gd name="connsiteY0" fmla="*/ 764522 h 764526"/>
                  <a:gd name="connsiteX1" fmla="*/ 4274 w 1078384"/>
                  <a:gd name="connsiteY1" fmla="*/ 756686 h 764526"/>
                  <a:gd name="connsiteX2" fmla="*/ 8207 w 1078384"/>
                  <a:gd name="connsiteY2" fmla="*/ 725343 h 764526"/>
                  <a:gd name="connsiteX3" fmla="*/ 435360 w 1078384"/>
                  <a:gd name="connsiteY3" fmla="*/ 427497 h 764526"/>
                  <a:gd name="connsiteX4" fmla="*/ 451031 w 1078384"/>
                  <a:gd name="connsiteY4" fmla="*/ 423565 h 764526"/>
                  <a:gd name="connsiteX5" fmla="*/ 505881 w 1078384"/>
                  <a:gd name="connsiteY5" fmla="*/ 521527 h 764526"/>
                  <a:gd name="connsiteX6" fmla="*/ 541157 w 1078384"/>
                  <a:gd name="connsiteY6" fmla="*/ 639092 h 764526"/>
                  <a:gd name="connsiteX7" fmla="*/ 623445 w 1078384"/>
                  <a:gd name="connsiteY7" fmla="*/ 670435 h 764526"/>
                  <a:gd name="connsiteX8" fmla="*/ 717506 w 1078384"/>
                  <a:gd name="connsiteY8" fmla="*/ 635160 h 764526"/>
                  <a:gd name="connsiteX9" fmla="*/ 772356 w 1078384"/>
                  <a:gd name="connsiteY9" fmla="*/ 462742 h 764526"/>
                  <a:gd name="connsiteX10" fmla="*/ 686136 w 1078384"/>
                  <a:gd name="connsiteY10" fmla="*/ 403959 h 764526"/>
                  <a:gd name="connsiteX11" fmla="*/ 611680 w 1078384"/>
                  <a:gd name="connsiteY11" fmla="*/ 313831 h 764526"/>
                  <a:gd name="connsiteX12" fmla="*/ 619516 w 1078384"/>
                  <a:gd name="connsiteY12" fmla="*/ 298159 h 764526"/>
                  <a:gd name="connsiteX13" fmla="*/ 1042767 w 1078384"/>
                  <a:gd name="connsiteY13" fmla="*/ 4274 h 764526"/>
                  <a:gd name="connsiteX14" fmla="*/ 1074110 w 1078384"/>
                  <a:gd name="connsiteY14" fmla="*/ 8207 h 764526"/>
                  <a:gd name="connsiteX15" fmla="*/ 1070178 w 1078384"/>
                  <a:gd name="connsiteY15" fmla="*/ 39550 h 764526"/>
                  <a:gd name="connsiteX16" fmla="*/ 662659 w 1078384"/>
                  <a:gd name="connsiteY16" fmla="*/ 325631 h 764526"/>
                  <a:gd name="connsiteX17" fmla="*/ 713606 w 1078384"/>
                  <a:gd name="connsiteY17" fmla="*/ 360907 h 764526"/>
                  <a:gd name="connsiteX18" fmla="*/ 815498 w 1078384"/>
                  <a:gd name="connsiteY18" fmla="*/ 435362 h 764526"/>
                  <a:gd name="connsiteX19" fmla="*/ 752783 w 1078384"/>
                  <a:gd name="connsiteY19" fmla="*/ 670494 h 764526"/>
                  <a:gd name="connsiteX20" fmla="*/ 639148 w 1078384"/>
                  <a:gd name="connsiteY20" fmla="*/ 713605 h 764526"/>
                  <a:gd name="connsiteX21" fmla="*/ 517651 w 1078384"/>
                  <a:gd name="connsiteY21" fmla="*/ 662658 h 764526"/>
                  <a:gd name="connsiteX22" fmla="*/ 474540 w 1078384"/>
                  <a:gd name="connsiteY22" fmla="*/ 521587 h 764526"/>
                  <a:gd name="connsiteX23" fmla="*/ 462772 w 1078384"/>
                  <a:gd name="connsiteY23" fmla="*/ 470640 h 764526"/>
                  <a:gd name="connsiteX24" fmla="*/ 43459 w 1078384"/>
                  <a:gd name="connsiteY24" fmla="*/ 760623 h 764526"/>
                  <a:gd name="connsiteX25" fmla="*/ 23884 w 1078384"/>
                  <a:gd name="connsiteY25" fmla="*/ 764526 h 764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078384" h="764526">
                    <a:moveTo>
                      <a:pt x="23878" y="764522"/>
                    </a:moveTo>
                    <a:cubicBezTo>
                      <a:pt x="16043" y="764522"/>
                      <a:pt x="8207" y="760589"/>
                      <a:pt x="4274" y="756686"/>
                    </a:cubicBezTo>
                    <a:cubicBezTo>
                      <a:pt x="-3561" y="744917"/>
                      <a:pt x="342" y="733178"/>
                      <a:pt x="8207" y="725343"/>
                    </a:cubicBezTo>
                    <a:lnTo>
                      <a:pt x="435360" y="427497"/>
                    </a:lnTo>
                    <a:cubicBezTo>
                      <a:pt x="439292" y="423565"/>
                      <a:pt x="447128" y="423565"/>
                      <a:pt x="451031" y="423565"/>
                    </a:cubicBezTo>
                    <a:cubicBezTo>
                      <a:pt x="501978" y="435333"/>
                      <a:pt x="505881" y="478415"/>
                      <a:pt x="505881" y="521527"/>
                    </a:cubicBezTo>
                    <a:cubicBezTo>
                      <a:pt x="509814" y="556802"/>
                      <a:pt x="509814" y="599914"/>
                      <a:pt x="541157" y="639092"/>
                    </a:cubicBezTo>
                    <a:cubicBezTo>
                      <a:pt x="560761" y="666532"/>
                      <a:pt x="588171" y="674368"/>
                      <a:pt x="623445" y="670435"/>
                    </a:cubicBezTo>
                    <a:cubicBezTo>
                      <a:pt x="654789" y="666503"/>
                      <a:pt x="690064" y="654764"/>
                      <a:pt x="717506" y="635160"/>
                    </a:cubicBezTo>
                    <a:cubicBezTo>
                      <a:pt x="748849" y="611653"/>
                      <a:pt x="823300" y="537198"/>
                      <a:pt x="772356" y="462742"/>
                    </a:cubicBezTo>
                    <a:cubicBezTo>
                      <a:pt x="752752" y="431399"/>
                      <a:pt x="717506" y="415728"/>
                      <a:pt x="686136" y="403959"/>
                    </a:cubicBezTo>
                    <a:cubicBezTo>
                      <a:pt x="646957" y="384355"/>
                      <a:pt x="603847" y="364781"/>
                      <a:pt x="611680" y="313831"/>
                    </a:cubicBezTo>
                    <a:cubicBezTo>
                      <a:pt x="611680" y="309898"/>
                      <a:pt x="615612" y="302062"/>
                      <a:pt x="619516" y="298159"/>
                    </a:cubicBezTo>
                    <a:lnTo>
                      <a:pt x="1042767" y="4274"/>
                    </a:lnTo>
                    <a:cubicBezTo>
                      <a:pt x="1054536" y="-3562"/>
                      <a:pt x="1066275" y="342"/>
                      <a:pt x="1074110" y="8207"/>
                    </a:cubicBezTo>
                    <a:cubicBezTo>
                      <a:pt x="1081946" y="19975"/>
                      <a:pt x="1078043" y="31714"/>
                      <a:pt x="1070178" y="39550"/>
                    </a:cubicBezTo>
                    <a:lnTo>
                      <a:pt x="662659" y="325631"/>
                    </a:lnTo>
                    <a:cubicBezTo>
                      <a:pt x="666591" y="337399"/>
                      <a:pt x="678330" y="345235"/>
                      <a:pt x="713606" y="360907"/>
                    </a:cubicBezTo>
                    <a:cubicBezTo>
                      <a:pt x="748881" y="376578"/>
                      <a:pt x="788061" y="396182"/>
                      <a:pt x="815498" y="435362"/>
                    </a:cubicBezTo>
                    <a:cubicBezTo>
                      <a:pt x="882117" y="529422"/>
                      <a:pt x="811566" y="627384"/>
                      <a:pt x="752783" y="670494"/>
                    </a:cubicBezTo>
                    <a:cubicBezTo>
                      <a:pt x="717507" y="694001"/>
                      <a:pt x="674396" y="709673"/>
                      <a:pt x="639148" y="713605"/>
                    </a:cubicBezTo>
                    <a:cubicBezTo>
                      <a:pt x="584298" y="717538"/>
                      <a:pt x="545088" y="701837"/>
                      <a:pt x="517651" y="662658"/>
                    </a:cubicBezTo>
                    <a:cubicBezTo>
                      <a:pt x="482376" y="611711"/>
                      <a:pt x="478473" y="560765"/>
                      <a:pt x="474540" y="521587"/>
                    </a:cubicBezTo>
                    <a:cubicBezTo>
                      <a:pt x="470608" y="486311"/>
                      <a:pt x="470608" y="474572"/>
                      <a:pt x="462772" y="470640"/>
                    </a:cubicBezTo>
                    <a:lnTo>
                      <a:pt x="43459" y="760623"/>
                    </a:lnTo>
                    <a:cubicBezTo>
                      <a:pt x="35623" y="760623"/>
                      <a:pt x="27787" y="764526"/>
                      <a:pt x="23884" y="764526"/>
                    </a:cubicBezTo>
                    <a:close/>
                  </a:path>
                </a:pathLst>
              </a:custGeom>
              <a:grpFill/>
              <a:ln w="7348" cap="flat">
                <a:solidFill>
                  <a:srgbClr val="0414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BAF80D95-4665-799F-E48B-93610DB6FE10}"/>
                  </a:ext>
                </a:extLst>
              </p:cNvPr>
              <p:cNvSpPr/>
              <p:nvPr/>
            </p:nvSpPr>
            <p:spPr>
              <a:xfrm>
                <a:off x="-2328069" y="1261552"/>
                <a:ext cx="1074469" cy="764471"/>
              </a:xfrm>
              <a:custGeom>
                <a:avLst/>
                <a:gdLst>
                  <a:gd name="connsiteX0" fmla="*/ 23878 w 1074469"/>
                  <a:gd name="connsiteY0" fmla="*/ 764472 h 764471"/>
                  <a:gd name="connsiteX1" fmla="*/ 4274 w 1074469"/>
                  <a:gd name="connsiteY1" fmla="*/ 756636 h 764471"/>
                  <a:gd name="connsiteX2" fmla="*/ 8207 w 1074469"/>
                  <a:gd name="connsiteY2" fmla="*/ 725293 h 764471"/>
                  <a:gd name="connsiteX3" fmla="*/ 427519 w 1074469"/>
                  <a:gd name="connsiteY3" fmla="*/ 435310 h 764471"/>
                  <a:gd name="connsiteX4" fmla="*/ 380505 w 1074469"/>
                  <a:gd name="connsiteY4" fmla="*/ 403967 h 764471"/>
                  <a:gd name="connsiteX5" fmla="*/ 262939 w 1074469"/>
                  <a:gd name="connsiteY5" fmla="*/ 313838 h 764471"/>
                  <a:gd name="connsiteX6" fmla="*/ 255103 w 1074469"/>
                  <a:gd name="connsiteY6" fmla="*/ 180599 h 764471"/>
                  <a:gd name="connsiteX7" fmla="*/ 337392 w 1074469"/>
                  <a:gd name="connsiteY7" fmla="*/ 86539 h 764471"/>
                  <a:gd name="connsiteX8" fmla="*/ 454958 w 1074469"/>
                  <a:gd name="connsiteY8" fmla="*/ 47361 h 764471"/>
                  <a:gd name="connsiteX9" fmla="*/ 580356 w 1074469"/>
                  <a:gd name="connsiteY9" fmla="*/ 110076 h 764471"/>
                  <a:gd name="connsiteX10" fmla="*/ 615632 w 1074469"/>
                  <a:gd name="connsiteY10" fmla="*/ 231573 h 764471"/>
                  <a:gd name="connsiteX11" fmla="*/ 631304 w 1074469"/>
                  <a:gd name="connsiteY11" fmla="*/ 290356 h 764471"/>
                  <a:gd name="connsiteX12" fmla="*/ 1038852 w 1074469"/>
                  <a:gd name="connsiteY12" fmla="*/ 4274 h 764471"/>
                  <a:gd name="connsiteX13" fmla="*/ 1070195 w 1074469"/>
                  <a:gd name="connsiteY13" fmla="*/ 8207 h 764471"/>
                  <a:gd name="connsiteX14" fmla="*/ 1066263 w 1074469"/>
                  <a:gd name="connsiteY14" fmla="*/ 39550 h 764471"/>
                  <a:gd name="connsiteX15" fmla="*/ 646950 w 1074469"/>
                  <a:gd name="connsiteY15" fmla="*/ 329533 h 764471"/>
                  <a:gd name="connsiteX16" fmla="*/ 631279 w 1074469"/>
                  <a:gd name="connsiteY16" fmla="*/ 333465 h 764471"/>
                  <a:gd name="connsiteX17" fmla="*/ 572496 w 1074469"/>
                  <a:gd name="connsiteY17" fmla="*/ 231572 h 764471"/>
                  <a:gd name="connsiteX18" fmla="*/ 545056 w 1074469"/>
                  <a:gd name="connsiteY18" fmla="*/ 129680 h 764471"/>
                  <a:gd name="connsiteX19" fmla="*/ 454927 w 1074469"/>
                  <a:gd name="connsiteY19" fmla="*/ 86568 h 764471"/>
                  <a:gd name="connsiteX20" fmla="*/ 360867 w 1074469"/>
                  <a:gd name="connsiteY20" fmla="*/ 117911 h 764471"/>
                  <a:gd name="connsiteX21" fmla="*/ 294249 w 1074469"/>
                  <a:gd name="connsiteY21" fmla="*/ 192367 h 764471"/>
                  <a:gd name="connsiteX22" fmla="*/ 298181 w 1074469"/>
                  <a:gd name="connsiteY22" fmla="*/ 278587 h 764471"/>
                  <a:gd name="connsiteX23" fmla="*/ 400074 w 1074469"/>
                  <a:gd name="connsiteY23" fmla="*/ 353043 h 764471"/>
                  <a:gd name="connsiteX24" fmla="*/ 470625 w 1074469"/>
                  <a:gd name="connsiteY24" fmla="*/ 439262 h 764471"/>
                  <a:gd name="connsiteX25" fmla="*/ 462789 w 1074469"/>
                  <a:gd name="connsiteY25" fmla="*/ 454934 h 764471"/>
                  <a:gd name="connsiteX26" fmla="*/ 35636 w 1074469"/>
                  <a:gd name="connsiteY26" fmla="*/ 752779 h 764471"/>
                  <a:gd name="connsiteX27" fmla="*/ 23868 w 1074469"/>
                  <a:gd name="connsiteY27" fmla="*/ 764461 h 764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074469" h="764471">
                    <a:moveTo>
                      <a:pt x="23878" y="764472"/>
                    </a:moveTo>
                    <a:cubicBezTo>
                      <a:pt x="16043" y="764472"/>
                      <a:pt x="8207" y="760540"/>
                      <a:pt x="4274" y="756636"/>
                    </a:cubicBezTo>
                    <a:cubicBezTo>
                      <a:pt x="-3562" y="744868"/>
                      <a:pt x="342" y="733129"/>
                      <a:pt x="8207" y="725293"/>
                    </a:cubicBezTo>
                    <a:lnTo>
                      <a:pt x="427519" y="435310"/>
                    </a:lnTo>
                    <a:cubicBezTo>
                      <a:pt x="423587" y="427474"/>
                      <a:pt x="415751" y="419638"/>
                      <a:pt x="380505" y="403967"/>
                    </a:cubicBezTo>
                    <a:cubicBezTo>
                      <a:pt x="345229" y="388295"/>
                      <a:pt x="298216" y="364788"/>
                      <a:pt x="262939" y="313838"/>
                    </a:cubicBezTo>
                    <a:cubicBezTo>
                      <a:pt x="235499" y="274659"/>
                      <a:pt x="231596" y="227618"/>
                      <a:pt x="255103" y="180599"/>
                    </a:cubicBezTo>
                    <a:cubicBezTo>
                      <a:pt x="270775" y="145324"/>
                      <a:pt x="302118" y="113981"/>
                      <a:pt x="337392" y="86539"/>
                    </a:cubicBezTo>
                    <a:cubicBezTo>
                      <a:pt x="372668" y="63032"/>
                      <a:pt x="415779" y="47361"/>
                      <a:pt x="454958" y="47361"/>
                    </a:cubicBezTo>
                    <a:cubicBezTo>
                      <a:pt x="509808" y="43428"/>
                      <a:pt x="552920" y="66965"/>
                      <a:pt x="580356" y="110076"/>
                    </a:cubicBezTo>
                    <a:cubicBezTo>
                      <a:pt x="607796" y="149255"/>
                      <a:pt x="611699" y="196296"/>
                      <a:pt x="615632" y="231573"/>
                    </a:cubicBezTo>
                    <a:cubicBezTo>
                      <a:pt x="619564" y="266848"/>
                      <a:pt x="623468" y="282520"/>
                      <a:pt x="631304" y="290356"/>
                    </a:cubicBezTo>
                    <a:lnTo>
                      <a:pt x="1038852" y="4274"/>
                    </a:lnTo>
                    <a:cubicBezTo>
                      <a:pt x="1050621" y="-3562"/>
                      <a:pt x="1062360" y="342"/>
                      <a:pt x="1070195" y="8207"/>
                    </a:cubicBezTo>
                    <a:cubicBezTo>
                      <a:pt x="1078031" y="19975"/>
                      <a:pt x="1074128" y="31714"/>
                      <a:pt x="1066263" y="39550"/>
                    </a:cubicBezTo>
                    <a:lnTo>
                      <a:pt x="646950" y="329533"/>
                    </a:lnTo>
                    <a:cubicBezTo>
                      <a:pt x="643018" y="333465"/>
                      <a:pt x="635182" y="333465"/>
                      <a:pt x="631279" y="333465"/>
                    </a:cubicBezTo>
                    <a:cubicBezTo>
                      <a:pt x="580331" y="325629"/>
                      <a:pt x="576428" y="274682"/>
                      <a:pt x="572496" y="231572"/>
                    </a:cubicBezTo>
                    <a:cubicBezTo>
                      <a:pt x="568563" y="196297"/>
                      <a:pt x="564660" y="161021"/>
                      <a:pt x="545056" y="129680"/>
                    </a:cubicBezTo>
                    <a:cubicBezTo>
                      <a:pt x="525452" y="98338"/>
                      <a:pt x="494109" y="86568"/>
                      <a:pt x="454927" y="86568"/>
                    </a:cubicBezTo>
                    <a:cubicBezTo>
                      <a:pt x="423584" y="86568"/>
                      <a:pt x="388309" y="98337"/>
                      <a:pt x="360867" y="117911"/>
                    </a:cubicBezTo>
                    <a:cubicBezTo>
                      <a:pt x="333427" y="137515"/>
                      <a:pt x="306017" y="164926"/>
                      <a:pt x="294249" y="192367"/>
                    </a:cubicBezTo>
                    <a:cubicBezTo>
                      <a:pt x="278577" y="223710"/>
                      <a:pt x="278577" y="255082"/>
                      <a:pt x="298181" y="278587"/>
                    </a:cubicBezTo>
                    <a:cubicBezTo>
                      <a:pt x="325621" y="317766"/>
                      <a:pt x="364800" y="337370"/>
                      <a:pt x="400074" y="353043"/>
                    </a:cubicBezTo>
                    <a:cubicBezTo>
                      <a:pt x="435349" y="368714"/>
                      <a:pt x="478461" y="388318"/>
                      <a:pt x="470625" y="439262"/>
                    </a:cubicBezTo>
                    <a:cubicBezTo>
                      <a:pt x="470625" y="447098"/>
                      <a:pt x="466693" y="451031"/>
                      <a:pt x="462789" y="454934"/>
                    </a:cubicBezTo>
                    <a:lnTo>
                      <a:pt x="35636" y="752779"/>
                    </a:lnTo>
                    <a:cubicBezTo>
                      <a:pt x="31704" y="764461"/>
                      <a:pt x="27772" y="764461"/>
                      <a:pt x="23868" y="764461"/>
                    </a:cubicBezTo>
                    <a:close/>
                  </a:path>
                </a:pathLst>
              </a:custGeom>
              <a:grpFill/>
              <a:ln w="7348" cap="flat">
                <a:solidFill>
                  <a:srgbClr val="0414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D6E6A6CB-6323-8A8A-CADD-269EE3C5E261}"/>
                  </a:ext>
                </a:extLst>
              </p:cNvPr>
              <p:cNvSpPr/>
              <p:nvPr/>
            </p:nvSpPr>
            <p:spPr>
              <a:xfrm>
                <a:off x="-3038546" y="942875"/>
                <a:ext cx="762001" cy="1083153"/>
              </a:xfrm>
              <a:custGeom>
                <a:avLst/>
                <a:gdLst>
                  <a:gd name="connsiteX0" fmla="*/ 734355 w 762001"/>
                  <a:gd name="connsiteY0" fmla="*/ 1083150 h 1083153"/>
                  <a:gd name="connsiteX1" fmla="*/ 714751 w 762001"/>
                  <a:gd name="connsiteY1" fmla="*/ 1071381 h 1083153"/>
                  <a:gd name="connsiteX2" fmla="*/ 483551 w 762001"/>
                  <a:gd name="connsiteY2" fmla="*/ 655970 h 1083153"/>
                  <a:gd name="connsiteX3" fmla="*/ 448275 w 762001"/>
                  <a:gd name="connsiteY3" fmla="*/ 695149 h 1083153"/>
                  <a:gd name="connsiteX4" fmla="*/ 393425 w 762001"/>
                  <a:gd name="connsiteY4" fmla="*/ 769605 h 1083153"/>
                  <a:gd name="connsiteX5" fmla="*/ 228848 w 762001"/>
                  <a:gd name="connsiteY5" fmla="*/ 840156 h 1083153"/>
                  <a:gd name="connsiteX6" fmla="*/ 87776 w 762001"/>
                  <a:gd name="connsiteY6" fmla="*/ 750027 h 1083153"/>
                  <a:gd name="connsiteX7" fmla="*/ 52501 w 762001"/>
                  <a:gd name="connsiteY7" fmla="*/ 585450 h 1083153"/>
                  <a:gd name="connsiteX8" fmla="*/ 166135 w 762001"/>
                  <a:gd name="connsiteY8" fmla="*/ 460051 h 1083153"/>
                  <a:gd name="connsiteX9" fmla="*/ 260195 w 762001"/>
                  <a:gd name="connsiteY9" fmla="*/ 432611 h 1083153"/>
                  <a:gd name="connsiteX10" fmla="*/ 318978 w 762001"/>
                  <a:gd name="connsiteY10" fmla="*/ 409104 h 1083153"/>
                  <a:gd name="connsiteX11" fmla="*/ 5460 w 762001"/>
                  <a:gd name="connsiteY11" fmla="*/ 36803 h 1083153"/>
                  <a:gd name="connsiteX12" fmla="*/ 9392 w 762001"/>
                  <a:gd name="connsiteY12" fmla="*/ 5460 h 1083153"/>
                  <a:gd name="connsiteX13" fmla="*/ 40735 w 762001"/>
                  <a:gd name="connsiteY13" fmla="*/ 9392 h 1083153"/>
                  <a:gd name="connsiteX14" fmla="*/ 362086 w 762001"/>
                  <a:gd name="connsiteY14" fmla="*/ 389526 h 1083153"/>
                  <a:gd name="connsiteX15" fmla="*/ 366019 w 762001"/>
                  <a:gd name="connsiteY15" fmla="*/ 409130 h 1083153"/>
                  <a:gd name="connsiteX16" fmla="*/ 268057 w 762001"/>
                  <a:gd name="connsiteY16" fmla="*/ 479681 h 1083153"/>
                  <a:gd name="connsiteX17" fmla="*/ 189670 w 762001"/>
                  <a:gd name="connsiteY17" fmla="*/ 503189 h 1083153"/>
                  <a:gd name="connsiteX18" fmla="*/ 99541 w 762001"/>
                  <a:gd name="connsiteY18" fmla="*/ 597249 h 1083153"/>
                  <a:gd name="connsiteX19" fmla="*/ 126981 w 762001"/>
                  <a:gd name="connsiteY19" fmla="*/ 722647 h 1083153"/>
                  <a:gd name="connsiteX20" fmla="*/ 232775 w 762001"/>
                  <a:gd name="connsiteY20" fmla="*/ 793198 h 1083153"/>
                  <a:gd name="connsiteX21" fmla="*/ 362112 w 762001"/>
                  <a:gd name="connsiteY21" fmla="*/ 734415 h 1083153"/>
                  <a:gd name="connsiteX22" fmla="*/ 409127 w 762001"/>
                  <a:gd name="connsiteY22" fmla="*/ 667797 h 1083153"/>
                  <a:gd name="connsiteX23" fmla="*/ 503187 w 762001"/>
                  <a:gd name="connsiteY23" fmla="*/ 609014 h 1083153"/>
                  <a:gd name="connsiteX24" fmla="*/ 518858 w 762001"/>
                  <a:gd name="connsiteY24" fmla="*/ 620782 h 1083153"/>
                  <a:gd name="connsiteX25" fmla="*/ 757921 w 762001"/>
                  <a:gd name="connsiteY25" fmla="*/ 1047935 h 1083153"/>
                  <a:gd name="connsiteX26" fmla="*/ 750085 w 762001"/>
                  <a:gd name="connsiteY26" fmla="*/ 1079278 h 1083153"/>
                  <a:gd name="connsiteX27" fmla="*/ 734356 w 762001"/>
                  <a:gd name="connsiteY27" fmla="*/ 1083153 h 1083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762001" h="1083153">
                    <a:moveTo>
                      <a:pt x="734355" y="1083150"/>
                    </a:moveTo>
                    <a:cubicBezTo>
                      <a:pt x="726520" y="1083150"/>
                      <a:pt x="718684" y="1079217"/>
                      <a:pt x="714751" y="1071381"/>
                    </a:cubicBezTo>
                    <a:lnTo>
                      <a:pt x="483551" y="655970"/>
                    </a:lnTo>
                    <a:cubicBezTo>
                      <a:pt x="471783" y="655970"/>
                      <a:pt x="463947" y="663806"/>
                      <a:pt x="448275" y="695149"/>
                    </a:cubicBezTo>
                    <a:cubicBezTo>
                      <a:pt x="436507" y="718656"/>
                      <a:pt x="420836" y="742163"/>
                      <a:pt x="393425" y="769605"/>
                    </a:cubicBezTo>
                    <a:cubicBezTo>
                      <a:pt x="338575" y="824455"/>
                      <a:pt x="283692" y="847991"/>
                      <a:pt x="228848" y="840156"/>
                    </a:cubicBezTo>
                    <a:cubicBezTo>
                      <a:pt x="150461" y="832320"/>
                      <a:pt x="103449" y="769605"/>
                      <a:pt x="87776" y="750027"/>
                    </a:cubicBezTo>
                    <a:cubicBezTo>
                      <a:pt x="60337" y="710848"/>
                      <a:pt x="36829" y="648134"/>
                      <a:pt x="52501" y="585450"/>
                    </a:cubicBezTo>
                    <a:cubicBezTo>
                      <a:pt x="64269" y="534502"/>
                      <a:pt x="103448" y="491390"/>
                      <a:pt x="166135" y="460051"/>
                    </a:cubicBezTo>
                    <a:cubicBezTo>
                      <a:pt x="201411" y="444380"/>
                      <a:pt x="232754" y="436544"/>
                      <a:pt x="260195" y="432611"/>
                    </a:cubicBezTo>
                    <a:cubicBezTo>
                      <a:pt x="295471" y="424775"/>
                      <a:pt x="311142" y="420843"/>
                      <a:pt x="318978" y="409104"/>
                    </a:cubicBezTo>
                    <a:lnTo>
                      <a:pt x="5460" y="36803"/>
                    </a:lnTo>
                    <a:cubicBezTo>
                      <a:pt x="-2376" y="28967"/>
                      <a:pt x="-2376" y="13295"/>
                      <a:pt x="9392" y="5460"/>
                    </a:cubicBezTo>
                    <a:cubicBezTo>
                      <a:pt x="17228" y="-2376"/>
                      <a:pt x="32899" y="-2376"/>
                      <a:pt x="40735" y="9392"/>
                    </a:cubicBezTo>
                    <a:lnTo>
                      <a:pt x="362086" y="389526"/>
                    </a:lnTo>
                    <a:cubicBezTo>
                      <a:pt x="366019" y="393458"/>
                      <a:pt x="369922" y="401294"/>
                      <a:pt x="366019" y="409130"/>
                    </a:cubicBezTo>
                    <a:cubicBezTo>
                      <a:pt x="354250" y="463980"/>
                      <a:pt x="311168" y="471846"/>
                      <a:pt x="268057" y="479681"/>
                    </a:cubicBezTo>
                    <a:cubicBezTo>
                      <a:pt x="244550" y="483614"/>
                      <a:pt x="217110" y="487517"/>
                      <a:pt x="189670" y="503189"/>
                    </a:cubicBezTo>
                    <a:cubicBezTo>
                      <a:pt x="142655" y="526696"/>
                      <a:pt x="111283" y="558039"/>
                      <a:pt x="99541" y="597249"/>
                    </a:cubicBezTo>
                    <a:cubicBezTo>
                      <a:pt x="87773" y="644263"/>
                      <a:pt x="107377" y="691308"/>
                      <a:pt x="126981" y="722647"/>
                    </a:cubicBezTo>
                    <a:cubicBezTo>
                      <a:pt x="138749" y="738319"/>
                      <a:pt x="177928" y="785362"/>
                      <a:pt x="232775" y="793198"/>
                    </a:cubicBezTo>
                    <a:cubicBezTo>
                      <a:pt x="275887" y="797131"/>
                      <a:pt x="318995" y="777527"/>
                      <a:pt x="362112" y="734415"/>
                    </a:cubicBezTo>
                    <a:cubicBezTo>
                      <a:pt x="385620" y="710908"/>
                      <a:pt x="397388" y="687401"/>
                      <a:pt x="409127" y="667797"/>
                    </a:cubicBezTo>
                    <a:cubicBezTo>
                      <a:pt x="428731" y="632521"/>
                      <a:pt x="448306" y="597246"/>
                      <a:pt x="503187" y="609014"/>
                    </a:cubicBezTo>
                    <a:cubicBezTo>
                      <a:pt x="511023" y="609014"/>
                      <a:pt x="514955" y="612946"/>
                      <a:pt x="518858" y="620782"/>
                    </a:cubicBezTo>
                    <a:lnTo>
                      <a:pt x="757921" y="1047935"/>
                    </a:lnTo>
                    <a:cubicBezTo>
                      <a:pt x="765757" y="1059704"/>
                      <a:pt x="761853" y="1071442"/>
                      <a:pt x="750085" y="1079278"/>
                    </a:cubicBezTo>
                    <a:cubicBezTo>
                      <a:pt x="742192" y="1083153"/>
                      <a:pt x="738259" y="1083153"/>
                      <a:pt x="734356" y="1083153"/>
                    </a:cubicBezTo>
                    <a:close/>
                  </a:path>
                </a:pathLst>
              </a:custGeom>
              <a:grpFill/>
              <a:ln w="7348" cap="flat">
                <a:solidFill>
                  <a:srgbClr val="0414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179DC5E1-9838-FF30-E4A2-0AFC5842D904}"/>
                  </a:ext>
                </a:extLst>
              </p:cNvPr>
              <p:cNvSpPr/>
              <p:nvPr/>
            </p:nvSpPr>
            <p:spPr>
              <a:xfrm>
                <a:off x="-2010467" y="223208"/>
                <a:ext cx="769812" cy="1081780"/>
              </a:xfrm>
              <a:custGeom>
                <a:avLst/>
                <a:gdLst>
                  <a:gd name="connsiteX0" fmla="*/ 740855 w 769812"/>
                  <a:gd name="connsiteY0" fmla="*/ 1081771 h 1081780"/>
                  <a:gd name="connsiteX1" fmla="*/ 725184 w 769812"/>
                  <a:gd name="connsiteY1" fmla="*/ 1073936 h 1081780"/>
                  <a:gd name="connsiteX2" fmla="*/ 407735 w 769812"/>
                  <a:gd name="connsiteY2" fmla="*/ 701634 h 1081780"/>
                  <a:gd name="connsiteX3" fmla="*/ 403802 w 769812"/>
                  <a:gd name="connsiteY3" fmla="*/ 682030 h 1081780"/>
                  <a:gd name="connsiteX4" fmla="*/ 490022 w 769812"/>
                  <a:gd name="connsiteY4" fmla="*/ 615412 h 1081780"/>
                  <a:gd name="connsiteX5" fmla="*/ 568409 w 769812"/>
                  <a:gd name="connsiteY5" fmla="*/ 591904 h 1081780"/>
                  <a:gd name="connsiteX6" fmla="*/ 670302 w 769812"/>
                  <a:gd name="connsiteY6" fmla="*/ 490012 h 1081780"/>
                  <a:gd name="connsiteX7" fmla="*/ 642862 w 769812"/>
                  <a:gd name="connsiteY7" fmla="*/ 364613 h 1081780"/>
                  <a:gd name="connsiteX8" fmla="*/ 533129 w 769812"/>
                  <a:gd name="connsiteY8" fmla="*/ 294062 h 1081780"/>
                  <a:gd name="connsiteX9" fmla="*/ 415563 w 769812"/>
                  <a:gd name="connsiteY9" fmla="*/ 345009 h 1081780"/>
                  <a:gd name="connsiteX10" fmla="*/ 364616 w 769812"/>
                  <a:gd name="connsiteY10" fmla="*/ 411628 h 1081780"/>
                  <a:gd name="connsiteX11" fmla="*/ 266654 w 769812"/>
                  <a:gd name="connsiteY11" fmla="*/ 478246 h 1081780"/>
                  <a:gd name="connsiteX12" fmla="*/ 250983 w 769812"/>
                  <a:gd name="connsiteY12" fmla="*/ 466478 h 1081780"/>
                  <a:gd name="connsiteX13" fmla="*/ 4080 w 769812"/>
                  <a:gd name="connsiteY13" fmla="*/ 35423 h 1081780"/>
                  <a:gd name="connsiteX14" fmla="*/ 11916 w 769812"/>
                  <a:gd name="connsiteY14" fmla="*/ 4080 h 1081780"/>
                  <a:gd name="connsiteX15" fmla="*/ 43259 w 769812"/>
                  <a:gd name="connsiteY15" fmla="*/ 11916 h 1081780"/>
                  <a:gd name="connsiteX16" fmla="*/ 282321 w 769812"/>
                  <a:gd name="connsiteY16" fmla="*/ 435167 h 1081780"/>
                  <a:gd name="connsiteX17" fmla="*/ 325433 w 769812"/>
                  <a:gd name="connsiteY17" fmla="*/ 388153 h 1081780"/>
                  <a:gd name="connsiteX18" fmla="*/ 384216 w 769812"/>
                  <a:gd name="connsiteY18" fmla="*/ 309766 h 1081780"/>
                  <a:gd name="connsiteX19" fmla="*/ 540960 w 769812"/>
                  <a:gd name="connsiteY19" fmla="*/ 247050 h 1081780"/>
                  <a:gd name="connsiteX20" fmla="*/ 682032 w 769812"/>
                  <a:gd name="connsiteY20" fmla="*/ 337179 h 1081780"/>
                  <a:gd name="connsiteX21" fmla="*/ 717307 w 769812"/>
                  <a:gd name="connsiteY21" fmla="*/ 497855 h 1081780"/>
                  <a:gd name="connsiteX22" fmla="*/ 591909 w 769812"/>
                  <a:gd name="connsiteY22" fmla="*/ 627192 h 1081780"/>
                  <a:gd name="connsiteX23" fmla="*/ 501780 w 769812"/>
                  <a:gd name="connsiteY23" fmla="*/ 650699 h 1081780"/>
                  <a:gd name="connsiteX24" fmla="*/ 454766 w 769812"/>
                  <a:gd name="connsiteY24" fmla="*/ 670303 h 1081780"/>
                  <a:gd name="connsiteX25" fmla="*/ 764353 w 769812"/>
                  <a:gd name="connsiteY25" fmla="*/ 1030833 h 1081780"/>
                  <a:gd name="connsiteX26" fmla="*/ 760421 w 769812"/>
                  <a:gd name="connsiteY26" fmla="*/ 1062176 h 1081780"/>
                  <a:gd name="connsiteX27" fmla="*/ 740845 w 769812"/>
                  <a:gd name="connsiteY27" fmla="*/ 1081780 h 1081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769812" h="1081780">
                    <a:moveTo>
                      <a:pt x="740855" y="1081771"/>
                    </a:moveTo>
                    <a:cubicBezTo>
                      <a:pt x="733019" y="1081771"/>
                      <a:pt x="729087" y="1077839"/>
                      <a:pt x="725184" y="1073936"/>
                    </a:cubicBezTo>
                    <a:lnTo>
                      <a:pt x="407735" y="701634"/>
                    </a:lnTo>
                    <a:cubicBezTo>
                      <a:pt x="403802" y="697702"/>
                      <a:pt x="399899" y="689866"/>
                      <a:pt x="403802" y="682030"/>
                    </a:cubicBezTo>
                    <a:cubicBezTo>
                      <a:pt x="411638" y="627180"/>
                      <a:pt x="450817" y="619315"/>
                      <a:pt x="490022" y="615412"/>
                    </a:cubicBezTo>
                    <a:cubicBezTo>
                      <a:pt x="513529" y="611479"/>
                      <a:pt x="540969" y="607576"/>
                      <a:pt x="568409" y="591904"/>
                    </a:cubicBezTo>
                    <a:cubicBezTo>
                      <a:pt x="623259" y="564464"/>
                      <a:pt x="658538" y="533121"/>
                      <a:pt x="670302" y="490012"/>
                    </a:cubicBezTo>
                    <a:cubicBezTo>
                      <a:pt x="685973" y="435161"/>
                      <a:pt x="650697" y="380279"/>
                      <a:pt x="642862" y="364613"/>
                    </a:cubicBezTo>
                    <a:cubicBezTo>
                      <a:pt x="623258" y="333270"/>
                      <a:pt x="580146" y="297994"/>
                      <a:pt x="533129" y="294062"/>
                    </a:cubicBezTo>
                    <a:cubicBezTo>
                      <a:pt x="493950" y="290130"/>
                      <a:pt x="454742" y="305830"/>
                      <a:pt x="415563" y="345009"/>
                    </a:cubicBezTo>
                    <a:cubicBezTo>
                      <a:pt x="392056" y="364613"/>
                      <a:pt x="380287" y="392023"/>
                      <a:pt x="364616" y="411628"/>
                    </a:cubicBezTo>
                    <a:cubicBezTo>
                      <a:pt x="345012" y="446903"/>
                      <a:pt x="321504" y="486083"/>
                      <a:pt x="266654" y="478246"/>
                    </a:cubicBezTo>
                    <a:cubicBezTo>
                      <a:pt x="258818" y="478246"/>
                      <a:pt x="254886" y="474314"/>
                      <a:pt x="250983" y="466478"/>
                    </a:cubicBezTo>
                    <a:lnTo>
                      <a:pt x="4080" y="35423"/>
                    </a:lnTo>
                    <a:cubicBezTo>
                      <a:pt x="-3756" y="23655"/>
                      <a:pt x="148" y="11916"/>
                      <a:pt x="11916" y="4080"/>
                    </a:cubicBezTo>
                    <a:cubicBezTo>
                      <a:pt x="23684" y="-3756"/>
                      <a:pt x="35423" y="148"/>
                      <a:pt x="43259" y="11916"/>
                    </a:cubicBezTo>
                    <a:lnTo>
                      <a:pt x="282321" y="435167"/>
                    </a:lnTo>
                    <a:cubicBezTo>
                      <a:pt x="297993" y="435167"/>
                      <a:pt x="305829" y="423399"/>
                      <a:pt x="325433" y="388153"/>
                    </a:cubicBezTo>
                    <a:cubicBezTo>
                      <a:pt x="337201" y="364645"/>
                      <a:pt x="356776" y="337206"/>
                      <a:pt x="384216" y="309766"/>
                    </a:cubicBezTo>
                    <a:cubicBezTo>
                      <a:pt x="435163" y="262751"/>
                      <a:pt x="486108" y="243147"/>
                      <a:pt x="540960" y="247050"/>
                    </a:cubicBezTo>
                    <a:cubicBezTo>
                      <a:pt x="603675" y="254886"/>
                      <a:pt x="654595" y="297997"/>
                      <a:pt x="682032" y="337179"/>
                    </a:cubicBezTo>
                    <a:cubicBezTo>
                      <a:pt x="693800" y="356783"/>
                      <a:pt x="736882" y="423399"/>
                      <a:pt x="717307" y="497855"/>
                    </a:cubicBezTo>
                    <a:cubicBezTo>
                      <a:pt x="701636" y="552705"/>
                      <a:pt x="662457" y="595816"/>
                      <a:pt x="591909" y="627192"/>
                    </a:cubicBezTo>
                    <a:cubicBezTo>
                      <a:pt x="556633" y="642863"/>
                      <a:pt x="525290" y="646796"/>
                      <a:pt x="501780" y="650699"/>
                    </a:cubicBezTo>
                    <a:cubicBezTo>
                      <a:pt x="470437" y="654631"/>
                      <a:pt x="458669" y="658535"/>
                      <a:pt x="454766" y="670303"/>
                    </a:cubicBezTo>
                    <a:lnTo>
                      <a:pt x="764353" y="1030833"/>
                    </a:lnTo>
                    <a:cubicBezTo>
                      <a:pt x="772189" y="1038669"/>
                      <a:pt x="772189" y="1054340"/>
                      <a:pt x="760421" y="1062176"/>
                    </a:cubicBezTo>
                    <a:cubicBezTo>
                      <a:pt x="752585" y="1077847"/>
                      <a:pt x="744749" y="1081780"/>
                      <a:pt x="740845" y="1081780"/>
                    </a:cubicBezTo>
                    <a:close/>
                  </a:path>
                </a:pathLst>
              </a:custGeom>
              <a:grpFill/>
              <a:ln w="7348" cap="flat">
                <a:solidFill>
                  <a:srgbClr val="0414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D008FF7E-9C78-7E43-2D9A-6E817AC97703}"/>
                  </a:ext>
                </a:extLst>
              </p:cNvPr>
              <p:cNvSpPr/>
              <p:nvPr/>
            </p:nvSpPr>
            <p:spPr>
              <a:xfrm>
                <a:off x="-4643771" y="987549"/>
                <a:ext cx="380106" cy="1304992"/>
              </a:xfrm>
              <a:custGeom>
                <a:avLst/>
                <a:gdLst>
                  <a:gd name="connsiteX0" fmla="*/ 23536 w 380106"/>
                  <a:gd name="connsiteY0" fmla="*/ 1304982 h 1304992"/>
                  <a:gd name="connsiteX1" fmla="*/ 29 w 380106"/>
                  <a:gd name="connsiteY1" fmla="*/ 1281475 h 1304992"/>
                  <a:gd name="connsiteX2" fmla="*/ 0 w 380106"/>
                  <a:gd name="connsiteY2" fmla="*/ 764171 h 1304992"/>
                  <a:gd name="connsiteX3" fmla="*/ 7836 w 380106"/>
                  <a:gd name="connsiteY3" fmla="*/ 748500 h 1304992"/>
                  <a:gd name="connsiteX4" fmla="*/ 121470 w 380106"/>
                  <a:gd name="connsiteY4" fmla="*/ 756336 h 1304992"/>
                  <a:gd name="connsiteX5" fmla="*/ 239036 w 380106"/>
                  <a:gd name="connsiteY5" fmla="*/ 795514 h 1304992"/>
                  <a:gd name="connsiteX6" fmla="*/ 336998 w 380106"/>
                  <a:gd name="connsiteY6" fmla="*/ 650512 h 1304992"/>
                  <a:gd name="connsiteX7" fmla="*/ 223363 w 380106"/>
                  <a:gd name="connsiteY7" fmla="*/ 505509 h 1304992"/>
                  <a:gd name="connsiteX8" fmla="*/ 125402 w 380106"/>
                  <a:gd name="connsiteY8" fmla="*/ 540785 h 1304992"/>
                  <a:gd name="connsiteX9" fmla="*/ 7836 w 380106"/>
                  <a:gd name="connsiteY9" fmla="*/ 548620 h 1304992"/>
                  <a:gd name="connsiteX10" fmla="*/ 0 w 380106"/>
                  <a:gd name="connsiteY10" fmla="*/ 532949 h 1304992"/>
                  <a:gd name="connsiteX11" fmla="*/ 0 w 380106"/>
                  <a:gd name="connsiteY11" fmla="*/ 23507 h 1304992"/>
                  <a:gd name="connsiteX12" fmla="*/ 23507 w 380106"/>
                  <a:gd name="connsiteY12" fmla="*/ 0 h 1304992"/>
                  <a:gd name="connsiteX13" fmla="*/ 47015 w 380106"/>
                  <a:gd name="connsiteY13" fmla="*/ 23507 h 1304992"/>
                  <a:gd name="connsiteX14" fmla="*/ 47015 w 380106"/>
                  <a:gd name="connsiteY14" fmla="*/ 521207 h 1304992"/>
                  <a:gd name="connsiteX15" fmla="*/ 101865 w 380106"/>
                  <a:gd name="connsiteY15" fmla="*/ 501603 h 1304992"/>
                  <a:gd name="connsiteX16" fmla="*/ 223362 w 380106"/>
                  <a:gd name="connsiteY16" fmla="*/ 458492 h 1304992"/>
                  <a:gd name="connsiteX17" fmla="*/ 380106 w 380106"/>
                  <a:gd name="connsiteY17" fmla="*/ 646611 h 1304992"/>
                  <a:gd name="connsiteX18" fmla="*/ 239035 w 380106"/>
                  <a:gd name="connsiteY18" fmla="*/ 838633 h 1304992"/>
                  <a:gd name="connsiteX19" fmla="*/ 97963 w 380106"/>
                  <a:gd name="connsiteY19" fmla="*/ 791619 h 1304992"/>
                  <a:gd name="connsiteX20" fmla="*/ 47016 w 380106"/>
                  <a:gd name="connsiteY20" fmla="*/ 772014 h 1304992"/>
                  <a:gd name="connsiteX21" fmla="*/ 47016 w 380106"/>
                  <a:gd name="connsiteY21" fmla="*/ 1281456 h 1304992"/>
                  <a:gd name="connsiteX22" fmla="*/ 23537 w 380106"/>
                  <a:gd name="connsiteY22" fmla="*/ 1304992 h 1304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80106" h="1304992">
                    <a:moveTo>
                      <a:pt x="23536" y="1304982"/>
                    </a:moveTo>
                    <a:cubicBezTo>
                      <a:pt x="11768" y="1304982"/>
                      <a:pt x="29" y="1293214"/>
                      <a:pt x="29" y="1281475"/>
                    </a:cubicBezTo>
                    <a:lnTo>
                      <a:pt x="0" y="764171"/>
                    </a:lnTo>
                    <a:cubicBezTo>
                      <a:pt x="0" y="756336"/>
                      <a:pt x="3932" y="752403"/>
                      <a:pt x="7836" y="748500"/>
                    </a:cubicBezTo>
                    <a:cubicBezTo>
                      <a:pt x="47015" y="713224"/>
                      <a:pt x="86223" y="736731"/>
                      <a:pt x="121470" y="756336"/>
                    </a:cubicBezTo>
                    <a:cubicBezTo>
                      <a:pt x="152813" y="775940"/>
                      <a:pt x="188089" y="795514"/>
                      <a:pt x="239036" y="795514"/>
                    </a:cubicBezTo>
                    <a:cubicBezTo>
                      <a:pt x="317423" y="795514"/>
                      <a:pt x="336998" y="689720"/>
                      <a:pt x="336998" y="650512"/>
                    </a:cubicBezTo>
                    <a:cubicBezTo>
                      <a:pt x="336998" y="611333"/>
                      <a:pt x="317394" y="505509"/>
                      <a:pt x="223363" y="505509"/>
                    </a:cubicBezTo>
                    <a:cubicBezTo>
                      <a:pt x="188088" y="505509"/>
                      <a:pt x="152812" y="525113"/>
                      <a:pt x="125402" y="540785"/>
                    </a:cubicBezTo>
                    <a:cubicBezTo>
                      <a:pt x="86223" y="564292"/>
                      <a:pt x="43113" y="587799"/>
                      <a:pt x="7836" y="548620"/>
                    </a:cubicBezTo>
                    <a:cubicBezTo>
                      <a:pt x="3904" y="544688"/>
                      <a:pt x="0" y="536852"/>
                      <a:pt x="0" y="532949"/>
                    </a:cubicBezTo>
                    <a:lnTo>
                      <a:pt x="0" y="23507"/>
                    </a:lnTo>
                    <a:cubicBezTo>
                      <a:pt x="0" y="11739"/>
                      <a:pt x="11768" y="0"/>
                      <a:pt x="23507" y="0"/>
                    </a:cubicBezTo>
                    <a:cubicBezTo>
                      <a:pt x="35276" y="0"/>
                      <a:pt x="47015" y="11768"/>
                      <a:pt x="47015" y="23507"/>
                    </a:cubicBezTo>
                    <a:lnTo>
                      <a:pt x="47015" y="521207"/>
                    </a:lnTo>
                    <a:cubicBezTo>
                      <a:pt x="54850" y="525139"/>
                      <a:pt x="70522" y="517275"/>
                      <a:pt x="101865" y="501603"/>
                    </a:cubicBezTo>
                    <a:cubicBezTo>
                      <a:pt x="133208" y="481999"/>
                      <a:pt x="176321" y="458492"/>
                      <a:pt x="223362" y="458492"/>
                    </a:cubicBezTo>
                    <a:cubicBezTo>
                      <a:pt x="336996" y="458492"/>
                      <a:pt x="380106" y="572126"/>
                      <a:pt x="380106" y="646611"/>
                    </a:cubicBezTo>
                    <a:cubicBezTo>
                      <a:pt x="380106" y="724998"/>
                      <a:pt x="340927" y="838633"/>
                      <a:pt x="239035" y="838633"/>
                    </a:cubicBezTo>
                    <a:cubicBezTo>
                      <a:pt x="176319" y="838633"/>
                      <a:pt x="133240" y="811193"/>
                      <a:pt x="97963" y="791619"/>
                    </a:cubicBezTo>
                    <a:cubicBezTo>
                      <a:pt x="66620" y="772014"/>
                      <a:pt x="54852" y="768111"/>
                      <a:pt x="47016" y="772014"/>
                    </a:cubicBezTo>
                    <a:lnTo>
                      <a:pt x="47016" y="1281456"/>
                    </a:lnTo>
                    <a:cubicBezTo>
                      <a:pt x="47045" y="1297156"/>
                      <a:pt x="35276" y="1304992"/>
                      <a:pt x="23537" y="1304992"/>
                    </a:cubicBezTo>
                    <a:close/>
                  </a:path>
                </a:pathLst>
              </a:custGeom>
              <a:grpFill/>
              <a:ln w="7348" cap="flat">
                <a:solidFill>
                  <a:srgbClr val="0414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897AC195-3F70-4976-9070-1A77E74191E1}"/>
                  </a:ext>
                </a:extLst>
              </p:cNvPr>
              <p:cNvSpPr/>
              <p:nvPr/>
            </p:nvSpPr>
            <p:spPr>
              <a:xfrm>
                <a:off x="-3718879" y="991469"/>
                <a:ext cx="380106" cy="1301061"/>
              </a:xfrm>
              <a:custGeom>
                <a:avLst/>
                <a:gdLst>
                  <a:gd name="connsiteX0" fmla="*/ 356597 w 380106"/>
                  <a:gd name="connsiteY0" fmla="*/ 1301062 h 1301061"/>
                  <a:gd name="connsiteX1" fmla="*/ 333090 w 380106"/>
                  <a:gd name="connsiteY1" fmla="*/ 1277554 h 1301061"/>
                  <a:gd name="connsiteX2" fmla="*/ 333090 w 380106"/>
                  <a:gd name="connsiteY2" fmla="*/ 772014 h 1301061"/>
                  <a:gd name="connsiteX3" fmla="*/ 282143 w 380106"/>
                  <a:gd name="connsiteY3" fmla="*/ 791619 h 1301061"/>
                  <a:gd name="connsiteX4" fmla="*/ 141072 w 380106"/>
                  <a:gd name="connsiteY4" fmla="*/ 838633 h 1301061"/>
                  <a:gd name="connsiteX5" fmla="*/ 0 w 380106"/>
                  <a:gd name="connsiteY5" fmla="*/ 646611 h 1301061"/>
                  <a:gd name="connsiteX6" fmla="*/ 156745 w 380106"/>
                  <a:gd name="connsiteY6" fmla="*/ 458492 h 1301061"/>
                  <a:gd name="connsiteX7" fmla="*/ 278241 w 380106"/>
                  <a:gd name="connsiteY7" fmla="*/ 501603 h 1301061"/>
                  <a:gd name="connsiteX8" fmla="*/ 333092 w 380106"/>
                  <a:gd name="connsiteY8" fmla="*/ 521207 h 1301061"/>
                  <a:gd name="connsiteX9" fmla="*/ 333092 w 380106"/>
                  <a:gd name="connsiteY9" fmla="*/ 23507 h 1301061"/>
                  <a:gd name="connsiteX10" fmla="*/ 356599 w 380106"/>
                  <a:gd name="connsiteY10" fmla="*/ 0 h 1301061"/>
                  <a:gd name="connsiteX11" fmla="*/ 380106 w 380106"/>
                  <a:gd name="connsiteY11" fmla="*/ 23507 h 1301061"/>
                  <a:gd name="connsiteX12" fmla="*/ 380106 w 380106"/>
                  <a:gd name="connsiteY12" fmla="*/ 532949 h 1301061"/>
                  <a:gd name="connsiteX13" fmla="*/ 372270 w 380106"/>
                  <a:gd name="connsiteY13" fmla="*/ 548620 h 1301061"/>
                  <a:gd name="connsiteX14" fmla="*/ 254705 w 380106"/>
                  <a:gd name="connsiteY14" fmla="*/ 540785 h 1301061"/>
                  <a:gd name="connsiteX15" fmla="*/ 156743 w 380106"/>
                  <a:gd name="connsiteY15" fmla="*/ 505509 h 1301061"/>
                  <a:gd name="connsiteX16" fmla="*/ 43108 w 380106"/>
                  <a:gd name="connsiteY16" fmla="*/ 650512 h 1301061"/>
                  <a:gd name="connsiteX17" fmla="*/ 141070 w 380106"/>
                  <a:gd name="connsiteY17" fmla="*/ 795514 h 1301061"/>
                  <a:gd name="connsiteX18" fmla="*/ 258636 w 380106"/>
                  <a:gd name="connsiteY18" fmla="*/ 756336 h 1301061"/>
                  <a:gd name="connsiteX19" fmla="*/ 372270 w 380106"/>
                  <a:gd name="connsiteY19" fmla="*/ 748500 h 1301061"/>
                  <a:gd name="connsiteX20" fmla="*/ 380106 w 380106"/>
                  <a:gd name="connsiteY20" fmla="*/ 764171 h 1301061"/>
                  <a:gd name="connsiteX21" fmla="*/ 380106 w 380106"/>
                  <a:gd name="connsiteY21" fmla="*/ 1281446 h 1301061"/>
                  <a:gd name="connsiteX22" fmla="*/ 356599 w 380106"/>
                  <a:gd name="connsiteY22" fmla="*/ 1301050 h 1301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80106" h="1301061">
                    <a:moveTo>
                      <a:pt x="356597" y="1301062"/>
                    </a:moveTo>
                    <a:cubicBezTo>
                      <a:pt x="344829" y="1301062"/>
                      <a:pt x="333090" y="1289293"/>
                      <a:pt x="333090" y="1277554"/>
                    </a:cubicBezTo>
                    <a:lnTo>
                      <a:pt x="333090" y="772014"/>
                    </a:lnTo>
                    <a:cubicBezTo>
                      <a:pt x="325254" y="768082"/>
                      <a:pt x="313486" y="772014"/>
                      <a:pt x="282143" y="791619"/>
                    </a:cubicBezTo>
                    <a:cubicBezTo>
                      <a:pt x="250800" y="811223"/>
                      <a:pt x="203756" y="838633"/>
                      <a:pt x="141072" y="838633"/>
                    </a:cubicBezTo>
                    <a:cubicBezTo>
                      <a:pt x="35277" y="838633"/>
                      <a:pt x="0" y="724998"/>
                      <a:pt x="0" y="646611"/>
                    </a:cubicBezTo>
                    <a:cubicBezTo>
                      <a:pt x="0" y="572156"/>
                      <a:pt x="43111" y="458492"/>
                      <a:pt x="156745" y="458492"/>
                    </a:cubicBezTo>
                    <a:cubicBezTo>
                      <a:pt x="203759" y="458492"/>
                      <a:pt x="246873" y="481999"/>
                      <a:pt x="278241" y="501603"/>
                    </a:cubicBezTo>
                    <a:cubicBezTo>
                      <a:pt x="309584" y="521207"/>
                      <a:pt x="325256" y="525110"/>
                      <a:pt x="333092" y="521207"/>
                    </a:cubicBezTo>
                    <a:lnTo>
                      <a:pt x="333092" y="23507"/>
                    </a:lnTo>
                    <a:cubicBezTo>
                      <a:pt x="333092" y="11739"/>
                      <a:pt x="344860" y="0"/>
                      <a:pt x="356599" y="0"/>
                    </a:cubicBezTo>
                    <a:cubicBezTo>
                      <a:pt x="368367" y="0"/>
                      <a:pt x="380106" y="11768"/>
                      <a:pt x="380106" y="23507"/>
                    </a:cubicBezTo>
                    <a:lnTo>
                      <a:pt x="380106" y="532949"/>
                    </a:lnTo>
                    <a:cubicBezTo>
                      <a:pt x="380106" y="536881"/>
                      <a:pt x="376174" y="544717"/>
                      <a:pt x="372270" y="548620"/>
                    </a:cubicBezTo>
                    <a:cubicBezTo>
                      <a:pt x="336995" y="583896"/>
                      <a:pt x="293883" y="560389"/>
                      <a:pt x="254705" y="540785"/>
                    </a:cubicBezTo>
                    <a:cubicBezTo>
                      <a:pt x="227265" y="525113"/>
                      <a:pt x="191989" y="505509"/>
                      <a:pt x="156743" y="505509"/>
                    </a:cubicBezTo>
                    <a:cubicBezTo>
                      <a:pt x="66614" y="505509"/>
                      <a:pt x="43108" y="607402"/>
                      <a:pt x="43108" y="650512"/>
                    </a:cubicBezTo>
                    <a:cubicBezTo>
                      <a:pt x="43108" y="689691"/>
                      <a:pt x="58780" y="795514"/>
                      <a:pt x="141070" y="795514"/>
                    </a:cubicBezTo>
                    <a:cubicBezTo>
                      <a:pt x="192017" y="795514"/>
                      <a:pt x="227290" y="775910"/>
                      <a:pt x="258636" y="756336"/>
                    </a:cubicBezTo>
                    <a:cubicBezTo>
                      <a:pt x="293911" y="736731"/>
                      <a:pt x="333092" y="713224"/>
                      <a:pt x="372270" y="748500"/>
                    </a:cubicBezTo>
                    <a:cubicBezTo>
                      <a:pt x="376203" y="752432"/>
                      <a:pt x="380106" y="760268"/>
                      <a:pt x="380106" y="764171"/>
                    </a:cubicBezTo>
                    <a:lnTo>
                      <a:pt x="380106" y="1281446"/>
                    </a:lnTo>
                    <a:cubicBezTo>
                      <a:pt x="380106" y="1293214"/>
                      <a:pt x="368338" y="1301050"/>
                      <a:pt x="356599" y="1301050"/>
                    </a:cubicBezTo>
                    <a:close/>
                  </a:path>
                </a:pathLst>
              </a:custGeom>
              <a:grpFill/>
              <a:ln w="7348" cap="flat">
                <a:solidFill>
                  <a:srgbClr val="0414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3B53CBD1-D363-FBCE-94B0-65B7BFE29650}"/>
                  </a:ext>
                </a:extLst>
              </p:cNvPr>
              <p:cNvSpPr/>
              <p:nvPr/>
            </p:nvSpPr>
            <p:spPr>
              <a:xfrm>
                <a:off x="-4639889" y="650513"/>
                <a:ext cx="1297130" cy="435045"/>
              </a:xfrm>
              <a:custGeom>
                <a:avLst/>
                <a:gdLst>
                  <a:gd name="connsiteX0" fmla="*/ 791620 w 1297130"/>
                  <a:gd name="connsiteY0" fmla="*/ 431091 h 435045"/>
                  <a:gd name="connsiteX1" fmla="*/ 775948 w 1297130"/>
                  <a:gd name="connsiteY1" fmla="*/ 423255 h 435045"/>
                  <a:gd name="connsiteX2" fmla="*/ 772016 w 1297130"/>
                  <a:gd name="connsiteY2" fmla="*/ 313522 h 435045"/>
                  <a:gd name="connsiteX3" fmla="*/ 799456 w 1297130"/>
                  <a:gd name="connsiteY3" fmla="*/ 239066 h 435045"/>
                  <a:gd name="connsiteX4" fmla="*/ 775948 w 1297130"/>
                  <a:gd name="connsiteY4" fmla="*/ 97995 h 435045"/>
                  <a:gd name="connsiteX5" fmla="*/ 658383 w 1297130"/>
                  <a:gd name="connsiteY5" fmla="*/ 50980 h 435045"/>
                  <a:gd name="connsiteX6" fmla="*/ 540817 w 1297130"/>
                  <a:gd name="connsiteY6" fmla="*/ 101927 h 435045"/>
                  <a:gd name="connsiteX7" fmla="*/ 513377 w 1297130"/>
                  <a:gd name="connsiteY7" fmla="*/ 227326 h 435045"/>
                  <a:gd name="connsiteX8" fmla="*/ 540817 w 1297130"/>
                  <a:gd name="connsiteY8" fmla="*/ 305713 h 435045"/>
                  <a:gd name="connsiteX9" fmla="*/ 540817 w 1297130"/>
                  <a:gd name="connsiteY9" fmla="*/ 427210 h 435045"/>
                  <a:gd name="connsiteX10" fmla="*/ 521213 w 1297130"/>
                  <a:gd name="connsiteY10" fmla="*/ 435045 h 435045"/>
                  <a:gd name="connsiteX11" fmla="*/ 19604 w 1297130"/>
                  <a:gd name="connsiteY11" fmla="*/ 380137 h 435045"/>
                  <a:gd name="connsiteX12" fmla="*/ 0 w 1297130"/>
                  <a:gd name="connsiteY12" fmla="*/ 356630 h 435045"/>
                  <a:gd name="connsiteX13" fmla="*/ 23507 w 1297130"/>
                  <a:gd name="connsiteY13" fmla="*/ 337026 h 435045"/>
                  <a:gd name="connsiteX14" fmla="*/ 509443 w 1297130"/>
                  <a:gd name="connsiteY14" fmla="*/ 384040 h 435045"/>
                  <a:gd name="connsiteX15" fmla="*/ 497675 w 1297130"/>
                  <a:gd name="connsiteY15" fmla="*/ 321325 h 435045"/>
                  <a:gd name="connsiteX16" fmla="*/ 466332 w 1297130"/>
                  <a:gd name="connsiteY16" fmla="*/ 231196 h 435045"/>
                  <a:gd name="connsiteX17" fmla="*/ 505511 w 1297130"/>
                  <a:gd name="connsiteY17" fmla="*/ 66619 h 435045"/>
                  <a:gd name="connsiteX18" fmla="*/ 658353 w 1297130"/>
                  <a:gd name="connsiteY18" fmla="*/ 0 h 435045"/>
                  <a:gd name="connsiteX19" fmla="*/ 811196 w 1297130"/>
                  <a:gd name="connsiteY19" fmla="*/ 62715 h 435045"/>
                  <a:gd name="connsiteX20" fmla="*/ 846472 w 1297130"/>
                  <a:gd name="connsiteY20" fmla="*/ 239064 h 435045"/>
                  <a:gd name="connsiteX21" fmla="*/ 815129 w 1297130"/>
                  <a:gd name="connsiteY21" fmla="*/ 325284 h 435045"/>
                  <a:gd name="connsiteX22" fmla="*/ 803360 w 1297130"/>
                  <a:gd name="connsiteY22" fmla="*/ 376231 h 435045"/>
                  <a:gd name="connsiteX23" fmla="*/ 1273623 w 1297130"/>
                  <a:gd name="connsiteY23" fmla="*/ 337023 h 435045"/>
                  <a:gd name="connsiteX24" fmla="*/ 1297131 w 1297130"/>
                  <a:gd name="connsiteY24" fmla="*/ 356628 h 435045"/>
                  <a:gd name="connsiteX25" fmla="*/ 1277526 w 1297130"/>
                  <a:gd name="connsiteY25" fmla="*/ 380135 h 4350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297130" h="435045">
                    <a:moveTo>
                      <a:pt x="791620" y="431091"/>
                    </a:moveTo>
                    <a:cubicBezTo>
                      <a:pt x="787687" y="431091"/>
                      <a:pt x="779851" y="427158"/>
                      <a:pt x="775948" y="423255"/>
                    </a:cubicBezTo>
                    <a:cubicBezTo>
                      <a:pt x="736769" y="384076"/>
                      <a:pt x="752441" y="348799"/>
                      <a:pt x="772016" y="313522"/>
                    </a:cubicBezTo>
                    <a:cubicBezTo>
                      <a:pt x="783784" y="293918"/>
                      <a:pt x="791620" y="266508"/>
                      <a:pt x="799456" y="239066"/>
                    </a:cubicBezTo>
                    <a:cubicBezTo>
                      <a:pt x="811224" y="180283"/>
                      <a:pt x="803388" y="129333"/>
                      <a:pt x="775948" y="97995"/>
                    </a:cubicBezTo>
                    <a:cubicBezTo>
                      <a:pt x="736770" y="54883"/>
                      <a:pt x="674056" y="50980"/>
                      <a:pt x="658383" y="50980"/>
                    </a:cubicBezTo>
                    <a:cubicBezTo>
                      <a:pt x="619204" y="50980"/>
                      <a:pt x="572163" y="62749"/>
                      <a:pt x="540817" y="101927"/>
                    </a:cubicBezTo>
                    <a:cubicBezTo>
                      <a:pt x="513377" y="133270"/>
                      <a:pt x="505541" y="176383"/>
                      <a:pt x="513377" y="227326"/>
                    </a:cubicBezTo>
                    <a:cubicBezTo>
                      <a:pt x="517309" y="258669"/>
                      <a:pt x="529049" y="282176"/>
                      <a:pt x="540817" y="305713"/>
                    </a:cubicBezTo>
                    <a:cubicBezTo>
                      <a:pt x="560421" y="344892"/>
                      <a:pt x="576093" y="384100"/>
                      <a:pt x="540817" y="427210"/>
                    </a:cubicBezTo>
                    <a:cubicBezTo>
                      <a:pt x="536885" y="431142"/>
                      <a:pt x="529049" y="435045"/>
                      <a:pt x="521213" y="435045"/>
                    </a:cubicBezTo>
                    <a:lnTo>
                      <a:pt x="19604" y="380137"/>
                    </a:lnTo>
                    <a:cubicBezTo>
                      <a:pt x="7836" y="380137"/>
                      <a:pt x="0" y="368369"/>
                      <a:pt x="0" y="356630"/>
                    </a:cubicBezTo>
                    <a:cubicBezTo>
                      <a:pt x="0" y="344861"/>
                      <a:pt x="11768" y="333122"/>
                      <a:pt x="23507" y="337026"/>
                    </a:cubicBezTo>
                    <a:lnTo>
                      <a:pt x="509443" y="384040"/>
                    </a:lnTo>
                    <a:cubicBezTo>
                      <a:pt x="517279" y="372272"/>
                      <a:pt x="513375" y="356600"/>
                      <a:pt x="497675" y="321325"/>
                    </a:cubicBezTo>
                    <a:cubicBezTo>
                      <a:pt x="485906" y="297818"/>
                      <a:pt x="474168" y="266474"/>
                      <a:pt x="466332" y="231196"/>
                    </a:cubicBezTo>
                    <a:cubicBezTo>
                      <a:pt x="454563" y="164577"/>
                      <a:pt x="470264" y="109699"/>
                      <a:pt x="505511" y="66619"/>
                    </a:cubicBezTo>
                    <a:cubicBezTo>
                      <a:pt x="548622" y="19604"/>
                      <a:pt x="611305" y="0"/>
                      <a:pt x="658353" y="0"/>
                    </a:cubicBezTo>
                    <a:cubicBezTo>
                      <a:pt x="681861" y="0"/>
                      <a:pt x="760246" y="3932"/>
                      <a:pt x="811196" y="62715"/>
                    </a:cubicBezTo>
                    <a:cubicBezTo>
                      <a:pt x="846472" y="105827"/>
                      <a:pt x="858211" y="164608"/>
                      <a:pt x="846472" y="239064"/>
                    </a:cubicBezTo>
                    <a:cubicBezTo>
                      <a:pt x="838636" y="274340"/>
                      <a:pt x="826868" y="305683"/>
                      <a:pt x="815129" y="325284"/>
                    </a:cubicBezTo>
                    <a:cubicBezTo>
                      <a:pt x="799457" y="356627"/>
                      <a:pt x="795525" y="364463"/>
                      <a:pt x="803360" y="376231"/>
                    </a:cubicBezTo>
                    <a:lnTo>
                      <a:pt x="1273623" y="337023"/>
                    </a:lnTo>
                    <a:cubicBezTo>
                      <a:pt x="1285392" y="337023"/>
                      <a:pt x="1297131" y="344859"/>
                      <a:pt x="1297131" y="356628"/>
                    </a:cubicBezTo>
                    <a:cubicBezTo>
                      <a:pt x="1297131" y="368396"/>
                      <a:pt x="1289295" y="380135"/>
                      <a:pt x="1277526" y="380135"/>
                    </a:cubicBezTo>
                    <a:close/>
                  </a:path>
                </a:pathLst>
              </a:custGeom>
              <a:grpFill/>
              <a:ln w="7348" cap="flat">
                <a:solidFill>
                  <a:srgbClr val="0414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718C9F49-5DD9-D2B2-3B95-555BF3AC0676}"/>
                  </a:ext>
                </a:extLst>
              </p:cNvPr>
              <p:cNvSpPr/>
              <p:nvPr/>
            </p:nvSpPr>
            <p:spPr>
              <a:xfrm>
                <a:off x="-2453137" y="2249386"/>
                <a:ext cx="380106" cy="1304992"/>
              </a:xfrm>
              <a:custGeom>
                <a:avLst/>
                <a:gdLst>
                  <a:gd name="connsiteX0" fmla="*/ 356597 w 380106"/>
                  <a:gd name="connsiteY0" fmla="*/ 1304993 h 1304992"/>
                  <a:gd name="connsiteX1" fmla="*/ 333090 w 380106"/>
                  <a:gd name="connsiteY1" fmla="*/ 1281485 h 1304992"/>
                  <a:gd name="connsiteX2" fmla="*/ 333090 w 380106"/>
                  <a:gd name="connsiteY2" fmla="*/ 772044 h 1304992"/>
                  <a:gd name="connsiteX3" fmla="*/ 282143 w 380106"/>
                  <a:gd name="connsiteY3" fmla="*/ 791648 h 1304992"/>
                  <a:gd name="connsiteX4" fmla="*/ 141071 w 380106"/>
                  <a:gd name="connsiteY4" fmla="*/ 838662 h 1304992"/>
                  <a:gd name="connsiteX5" fmla="*/ 0 w 380106"/>
                  <a:gd name="connsiteY5" fmla="*/ 646641 h 1304992"/>
                  <a:gd name="connsiteX6" fmla="*/ 156745 w 380106"/>
                  <a:gd name="connsiteY6" fmla="*/ 458521 h 1304992"/>
                  <a:gd name="connsiteX7" fmla="*/ 278241 w 380106"/>
                  <a:gd name="connsiteY7" fmla="*/ 501632 h 1304992"/>
                  <a:gd name="connsiteX8" fmla="*/ 333092 w 380106"/>
                  <a:gd name="connsiteY8" fmla="*/ 521236 h 1304992"/>
                  <a:gd name="connsiteX9" fmla="*/ 333092 w 380106"/>
                  <a:gd name="connsiteY9" fmla="*/ 23507 h 1304992"/>
                  <a:gd name="connsiteX10" fmla="*/ 356599 w 380106"/>
                  <a:gd name="connsiteY10" fmla="*/ 0 h 1304992"/>
                  <a:gd name="connsiteX11" fmla="*/ 380106 w 380106"/>
                  <a:gd name="connsiteY11" fmla="*/ 23507 h 1304992"/>
                  <a:gd name="connsiteX12" fmla="*/ 380106 w 380106"/>
                  <a:gd name="connsiteY12" fmla="*/ 532949 h 1304992"/>
                  <a:gd name="connsiteX13" fmla="*/ 372270 w 380106"/>
                  <a:gd name="connsiteY13" fmla="*/ 548620 h 1304992"/>
                  <a:gd name="connsiteX14" fmla="*/ 254705 w 380106"/>
                  <a:gd name="connsiteY14" fmla="*/ 540785 h 1304992"/>
                  <a:gd name="connsiteX15" fmla="*/ 156743 w 380106"/>
                  <a:gd name="connsiteY15" fmla="*/ 505509 h 1304992"/>
                  <a:gd name="connsiteX16" fmla="*/ 43108 w 380106"/>
                  <a:gd name="connsiteY16" fmla="*/ 650512 h 1304992"/>
                  <a:gd name="connsiteX17" fmla="*/ 141070 w 380106"/>
                  <a:gd name="connsiteY17" fmla="*/ 795514 h 1304992"/>
                  <a:gd name="connsiteX18" fmla="*/ 258636 w 380106"/>
                  <a:gd name="connsiteY18" fmla="*/ 756336 h 1304992"/>
                  <a:gd name="connsiteX19" fmla="*/ 372270 w 380106"/>
                  <a:gd name="connsiteY19" fmla="*/ 748500 h 1304992"/>
                  <a:gd name="connsiteX20" fmla="*/ 380106 w 380106"/>
                  <a:gd name="connsiteY20" fmla="*/ 764171 h 1304992"/>
                  <a:gd name="connsiteX21" fmla="*/ 380106 w 380106"/>
                  <a:gd name="connsiteY21" fmla="*/ 1285384 h 1304992"/>
                  <a:gd name="connsiteX22" fmla="*/ 356599 w 380106"/>
                  <a:gd name="connsiteY22" fmla="*/ 1304988 h 1304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80106" h="1304992">
                    <a:moveTo>
                      <a:pt x="356597" y="1304993"/>
                    </a:moveTo>
                    <a:cubicBezTo>
                      <a:pt x="344829" y="1304993"/>
                      <a:pt x="333090" y="1293224"/>
                      <a:pt x="333090" y="1281485"/>
                    </a:cubicBezTo>
                    <a:lnTo>
                      <a:pt x="333090" y="772044"/>
                    </a:lnTo>
                    <a:cubicBezTo>
                      <a:pt x="325254" y="768111"/>
                      <a:pt x="313486" y="772044"/>
                      <a:pt x="282143" y="791648"/>
                    </a:cubicBezTo>
                    <a:cubicBezTo>
                      <a:pt x="250800" y="811252"/>
                      <a:pt x="203756" y="838662"/>
                      <a:pt x="141071" y="838662"/>
                    </a:cubicBezTo>
                    <a:cubicBezTo>
                      <a:pt x="35277" y="838662"/>
                      <a:pt x="0" y="725028"/>
                      <a:pt x="0" y="646641"/>
                    </a:cubicBezTo>
                    <a:cubicBezTo>
                      <a:pt x="0" y="572185"/>
                      <a:pt x="43111" y="458521"/>
                      <a:pt x="156745" y="458521"/>
                    </a:cubicBezTo>
                    <a:cubicBezTo>
                      <a:pt x="203759" y="458521"/>
                      <a:pt x="246873" y="482028"/>
                      <a:pt x="278241" y="501632"/>
                    </a:cubicBezTo>
                    <a:cubicBezTo>
                      <a:pt x="309584" y="521236"/>
                      <a:pt x="325256" y="525140"/>
                      <a:pt x="333092" y="521236"/>
                    </a:cubicBezTo>
                    <a:lnTo>
                      <a:pt x="333092" y="23507"/>
                    </a:lnTo>
                    <a:cubicBezTo>
                      <a:pt x="333092" y="11739"/>
                      <a:pt x="344860" y="0"/>
                      <a:pt x="356599" y="0"/>
                    </a:cubicBezTo>
                    <a:cubicBezTo>
                      <a:pt x="368367" y="0"/>
                      <a:pt x="380106" y="11768"/>
                      <a:pt x="380106" y="23507"/>
                    </a:cubicBezTo>
                    <a:lnTo>
                      <a:pt x="380106" y="532949"/>
                    </a:lnTo>
                    <a:cubicBezTo>
                      <a:pt x="380106" y="536881"/>
                      <a:pt x="376174" y="544717"/>
                      <a:pt x="372270" y="548620"/>
                    </a:cubicBezTo>
                    <a:cubicBezTo>
                      <a:pt x="336995" y="583896"/>
                      <a:pt x="293883" y="560389"/>
                      <a:pt x="254705" y="540785"/>
                    </a:cubicBezTo>
                    <a:cubicBezTo>
                      <a:pt x="227265" y="525113"/>
                      <a:pt x="191989" y="505509"/>
                      <a:pt x="156743" y="505509"/>
                    </a:cubicBezTo>
                    <a:cubicBezTo>
                      <a:pt x="66614" y="505509"/>
                      <a:pt x="43108" y="607402"/>
                      <a:pt x="43108" y="650512"/>
                    </a:cubicBezTo>
                    <a:cubicBezTo>
                      <a:pt x="43108" y="689690"/>
                      <a:pt x="58780" y="795514"/>
                      <a:pt x="141070" y="795514"/>
                    </a:cubicBezTo>
                    <a:cubicBezTo>
                      <a:pt x="192017" y="795514"/>
                      <a:pt x="227290" y="775910"/>
                      <a:pt x="258636" y="756336"/>
                    </a:cubicBezTo>
                    <a:cubicBezTo>
                      <a:pt x="293911" y="736731"/>
                      <a:pt x="333092" y="713224"/>
                      <a:pt x="372270" y="748500"/>
                    </a:cubicBezTo>
                    <a:cubicBezTo>
                      <a:pt x="376203" y="752432"/>
                      <a:pt x="380106" y="760268"/>
                      <a:pt x="380106" y="764171"/>
                    </a:cubicBezTo>
                    <a:lnTo>
                      <a:pt x="380106" y="1285384"/>
                    </a:lnTo>
                    <a:cubicBezTo>
                      <a:pt x="380106" y="1293220"/>
                      <a:pt x="372270" y="1304988"/>
                      <a:pt x="356599" y="1304988"/>
                    </a:cubicBezTo>
                    <a:close/>
                  </a:path>
                </a:pathLst>
              </a:custGeom>
              <a:grpFill/>
              <a:ln w="7348" cap="flat">
                <a:solidFill>
                  <a:srgbClr val="0414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97E05BF0-F598-8A3E-59FF-2326E7EE1E5F}"/>
                  </a:ext>
                </a:extLst>
              </p:cNvPr>
              <p:cNvSpPr/>
              <p:nvPr/>
            </p:nvSpPr>
            <p:spPr>
              <a:xfrm>
                <a:off x="-3377992" y="3460379"/>
                <a:ext cx="1301092" cy="427151"/>
              </a:xfrm>
              <a:custGeom>
                <a:avLst/>
                <a:gdLst>
                  <a:gd name="connsiteX0" fmla="*/ 658353 w 1301092"/>
                  <a:gd name="connsiteY0" fmla="*/ 427152 h 427151"/>
                  <a:gd name="connsiteX1" fmla="*/ 505511 w 1301092"/>
                  <a:gd name="connsiteY1" fmla="*/ 360533 h 427151"/>
                  <a:gd name="connsiteX2" fmla="*/ 466332 w 1301092"/>
                  <a:gd name="connsiteY2" fmla="*/ 195956 h 427151"/>
                  <a:gd name="connsiteX3" fmla="*/ 497675 w 1301092"/>
                  <a:gd name="connsiteY3" fmla="*/ 105827 h 427151"/>
                  <a:gd name="connsiteX4" fmla="*/ 509443 w 1301092"/>
                  <a:gd name="connsiteY4" fmla="*/ 43111 h 427151"/>
                  <a:gd name="connsiteX5" fmla="*/ 23507 w 1301092"/>
                  <a:gd name="connsiteY5" fmla="*/ 86223 h 427151"/>
                  <a:gd name="connsiteX6" fmla="*/ 0 w 1301092"/>
                  <a:gd name="connsiteY6" fmla="*/ 66619 h 427151"/>
                  <a:gd name="connsiteX7" fmla="*/ 19604 w 1301092"/>
                  <a:gd name="connsiteY7" fmla="*/ 43111 h 427151"/>
                  <a:gd name="connsiteX8" fmla="*/ 521213 w 1301092"/>
                  <a:gd name="connsiteY8" fmla="*/ 0 h 427151"/>
                  <a:gd name="connsiteX9" fmla="*/ 540817 w 1301092"/>
                  <a:gd name="connsiteY9" fmla="*/ 7836 h 427151"/>
                  <a:gd name="connsiteX10" fmla="*/ 540817 w 1301092"/>
                  <a:gd name="connsiteY10" fmla="*/ 129333 h 427151"/>
                  <a:gd name="connsiteX11" fmla="*/ 513377 w 1301092"/>
                  <a:gd name="connsiteY11" fmla="*/ 207720 h 427151"/>
                  <a:gd name="connsiteX12" fmla="*/ 540817 w 1301092"/>
                  <a:gd name="connsiteY12" fmla="*/ 333118 h 427151"/>
                  <a:gd name="connsiteX13" fmla="*/ 658383 w 1301092"/>
                  <a:gd name="connsiteY13" fmla="*/ 384065 h 427151"/>
                  <a:gd name="connsiteX14" fmla="*/ 775949 w 1301092"/>
                  <a:gd name="connsiteY14" fmla="*/ 337051 h 427151"/>
                  <a:gd name="connsiteX15" fmla="*/ 799456 w 1301092"/>
                  <a:gd name="connsiteY15" fmla="*/ 195979 h 427151"/>
                  <a:gd name="connsiteX16" fmla="*/ 772016 w 1301092"/>
                  <a:gd name="connsiteY16" fmla="*/ 121523 h 427151"/>
                  <a:gd name="connsiteX17" fmla="*/ 775948 w 1301092"/>
                  <a:gd name="connsiteY17" fmla="*/ 11790 h 427151"/>
                  <a:gd name="connsiteX18" fmla="*/ 795552 w 1301092"/>
                  <a:gd name="connsiteY18" fmla="*/ 3955 h 427151"/>
                  <a:gd name="connsiteX19" fmla="*/ 1281488 w 1301092"/>
                  <a:gd name="connsiteY19" fmla="*/ 50969 h 427151"/>
                  <a:gd name="connsiteX20" fmla="*/ 1301092 w 1301092"/>
                  <a:gd name="connsiteY20" fmla="*/ 74476 h 427151"/>
                  <a:gd name="connsiteX21" fmla="*/ 1277585 w 1301092"/>
                  <a:gd name="connsiteY21" fmla="*/ 94081 h 427151"/>
                  <a:gd name="connsiteX22" fmla="*/ 803391 w 1301092"/>
                  <a:gd name="connsiteY22" fmla="*/ 47066 h 427151"/>
                  <a:gd name="connsiteX23" fmla="*/ 815159 w 1301092"/>
                  <a:gd name="connsiteY23" fmla="*/ 98013 h 427151"/>
                  <a:gd name="connsiteX24" fmla="*/ 846502 w 1301092"/>
                  <a:gd name="connsiteY24" fmla="*/ 184233 h 427151"/>
                  <a:gd name="connsiteX25" fmla="*/ 811227 w 1301092"/>
                  <a:gd name="connsiteY25" fmla="*/ 360581 h 427151"/>
                  <a:gd name="connsiteX26" fmla="*/ 658355 w 1301092"/>
                  <a:gd name="connsiteY26" fmla="*/ 427143 h 427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301092" h="427151">
                    <a:moveTo>
                      <a:pt x="658353" y="427152"/>
                    </a:moveTo>
                    <a:cubicBezTo>
                      <a:pt x="611339" y="427152"/>
                      <a:pt x="544719" y="411480"/>
                      <a:pt x="505511" y="360533"/>
                    </a:cubicBezTo>
                    <a:cubicBezTo>
                      <a:pt x="470235" y="321354"/>
                      <a:pt x="458496" y="266473"/>
                      <a:pt x="466332" y="195956"/>
                    </a:cubicBezTo>
                    <a:cubicBezTo>
                      <a:pt x="470264" y="156777"/>
                      <a:pt x="485936" y="129337"/>
                      <a:pt x="497675" y="105827"/>
                    </a:cubicBezTo>
                    <a:cubicBezTo>
                      <a:pt x="513346" y="70551"/>
                      <a:pt x="517279" y="58812"/>
                      <a:pt x="509443" y="43111"/>
                    </a:cubicBezTo>
                    <a:lnTo>
                      <a:pt x="23507" y="86223"/>
                    </a:lnTo>
                    <a:cubicBezTo>
                      <a:pt x="11739" y="86223"/>
                      <a:pt x="0" y="78387"/>
                      <a:pt x="0" y="66619"/>
                    </a:cubicBezTo>
                    <a:cubicBezTo>
                      <a:pt x="0" y="54850"/>
                      <a:pt x="7836" y="43111"/>
                      <a:pt x="19604" y="43111"/>
                    </a:cubicBezTo>
                    <a:lnTo>
                      <a:pt x="521213" y="0"/>
                    </a:lnTo>
                    <a:cubicBezTo>
                      <a:pt x="529049" y="0"/>
                      <a:pt x="536884" y="3932"/>
                      <a:pt x="540817" y="7836"/>
                    </a:cubicBezTo>
                    <a:cubicBezTo>
                      <a:pt x="579996" y="50947"/>
                      <a:pt x="560421" y="90124"/>
                      <a:pt x="540817" y="129333"/>
                    </a:cubicBezTo>
                    <a:cubicBezTo>
                      <a:pt x="529049" y="152840"/>
                      <a:pt x="517310" y="176347"/>
                      <a:pt x="513377" y="207720"/>
                    </a:cubicBezTo>
                    <a:cubicBezTo>
                      <a:pt x="505541" y="262570"/>
                      <a:pt x="513377" y="305681"/>
                      <a:pt x="540817" y="333118"/>
                    </a:cubicBezTo>
                    <a:cubicBezTo>
                      <a:pt x="572160" y="368394"/>
                      <a:pt x="623106" y="384065"/>
                      <a:pt x="658383" y="384065"/>
                    </a:cubicBezTo>
                    <a:cubicBezTo>
                      <a:pt x="677987" y="384065"/>
                      <a:pt x="740671" y="380133"/>
                      <a:pt x="775949" y="337051"/>
                    </a:cubicBezTo>
                    <a:cubicBezTo>
                      <a:pt x="803388" y="305707"/>
                      <a:pt x="811224" y="258664"/>
                      <a:pt x="799456" y="195979"/>
                    </a:cubicBezTo>
                    <a:cubicBezTo>
                      <a:pt x="795524" y="164636"/>
                      <a:pt x="783784" y="141129"/>
                      <a:pt x="772016" y="121523"/>
                    </a:cubicBezTo>
                    <a:cubicBezTo>
                      <a:pt x="756344" y="86248"/>
                      <a:pt x="736740" y="50972"/>
                      <a:pt x="775948" y="11790"/>
                    </a:cubicBezTo>
                    <a:cubicBezTo>
                      <a:pt x="779880" y="7858"/>
                      <a:pt x="787716" y="3955"/>
                      <a:pt x="795552" y="3955"/>
                    </a:cubicBezTo>
                    <a:lnTo>
                      <a:pt x="1281488" y="50969"/>
                    </a:lnTo>
                    <a:cubicBezTo>
                      <a:pt x="1293257" y="50969"/>
                      <a:pt x="1301092" y="62738"/>
                      <a:pt x="1301092" y="74476"/>
                    </a:cubicBezTo>
                    <a:cubicBezTo>
                      <a:pt x="1301092" y="86245"/>
                      <a:pt x="1289324" y="94081"/>
                      <a:pt x="1277585" y="94081"/>
                    </a:cubicBezTo>
                    <a:lnTo>
                      <a:pt x="803391" y="47066"/>
                    </a:lnTo>
                    <a:cubicBezTo>
                      <a:pt x="795555" y="58834"/>
                      <a:pt x="799459" y="66670"/>
                      <a:pt x="815159" y="98013"/>
                    </a:cubicBezTo>
                    <a:cubicBezTo>
                      <a:pt x="826928" y="121520"/>
                      <a:pt x="838667" y="148960"/>
                      <a:pt x="846502" y="184233"/>
                    </a:cubicBezTo>
                    <a:cubicBezTo>
                      <a:pt x="858271" y="258689"/>
                      <a:pt x="846502" y="317471"/>
                      <a:pt x="811227" y="360581"/>
                    </a:cubicBezTo>
                    <a:cubicBezTo>
                      <a:pt x="760251" y="423239"/>
                      <a:pt x="681890" y="427143"/>
                      <a:pt x="658355" y="427143"/>
                    </a:cubicBezTo>
                    <a:close/>
                  </a:path>
                </a:pathLst>
              </a:custGeom>
              <a:grpFill/>
              <a:ln w="7348" cap="flat">
                <a:solidFill>
                  <a:srgbClr val="0414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0A91DA9A-B55E-5E38-331C-2C94CBAAC533}"/>
                  </a:ext>
                </a:extLst>
              </p:cNvPr>
              <p:cNvSpPr/>
              <p:nvPr/>
            </p:nvSpPr>
            <p:spPr>
              <a:xfrm>
                <a:off x="-3370164" y="1912457"/>
                <a:ext cx="1301061" cy="431054"/>
              </a:xfrm>
              <a:custGeom>
                <a:avLst/>
                <a:gdLst>
                  <a:gd name="connsiteX0" fmla="*/ 787711 w 1301061"/>
                  <a:gd name="connsiteY0" fmla="*/ 427100 h 431054"/>
                  <a:gd name="connsiteX1" fmla="*/ 772039 w 1301061"/>
                  <a:gd name="connsiteY1" fmla="*/ 419264 h 431054"/>
                  <a:gd name="connsiteX2" fmla="*/ 768107 w 1301061"/>
                  <a:gd name="connsiteY2" fmla="*/ 309531 h 431054"/>
                  <a:gd name="connsiteX3" fmla="*/ 795547 w 1301061"/>
                  <a:gd name="connsiteY3" fmla="*/ 235076 h 431054"/>
                  <a:gd name="connsiteX4" fmla="*/ 772039 w 1301061"/>
                  <a:gd name="connsiteY4" fmla="*/ 94004 h 431054"/>
                  <a:gd name="connsiteX5" fmla="*/ 654474 w 1301061"/>
                  <a:gd name="connsiteY5" fmla="*/ 46989 h 431054"/>
                  <a:gd name="connsiteX6" fmla="*/ 536908 w 1301061"/>
                  <a:gd name="connsiteY6" fmla="*/ 97937 h 431054"/>
                  <a:gd name="connsiteX7" fmla="*/ 509468 w 1301061"/>
                  <a:gd name="connsiteY7" fmla="*/ 223335 h 431054"/>
                  <a:gd name="connsiteX8" fmla="*/ 536908 w 1301061"/>
                  <a:gd name="connsiteY8" fmla="*/ 301722 h 431054"/>
                  <a:gd name="connsiteX9" fmla="*/ 536908 w 1301061"/>
                  <a:gd name="connsiteY9" fmla="*/ 423219 h 431054"/>
                  <a:gd name="connsiteX10" fmla="*/ 517304 w 1301061"/>
                  <a:gd name="connsiteY10" fmla="*/ 431055 h 431054"/>
                  <a:gd name="connsiteX11" fmla="*/ 19604 w 1301061"/>
                  <a:gd name="connsiteY11" fmla="*/ 384040 h 431054"/>
                  <a:gd name="connsiteX12" fmla="*/ 0 w 1301061"/>
                  <a:gd name="connsiteY12" fmla="*/ 360533 h 431054"/>
                  <a:gd name="connsiteX13" fmla="*/ 23507 w 1301061"/>
                  <a:gd name="connsiteY13" fmla="*/ 340929 h 431054"/>
                  <a:gd name="connsiteX14" fmla="*/ 509443 w 1301061"/>
                  <a:gd name="connsiteY14" fmla="*/ 384040 h 431054"/>
                  <a:gd name="connsiteX15" fmla="*/ 497675 w 1301061"/>
                  <a:gd name="connsiteY15" fmla="*/ 321325 h 431054"/>
                  <a:gd name="connsiteX16" fmla="*/ 466332 w 1301061"/>
                  <a:gd name="connsiteY16" fmla="*/ 231196 h 431054"/>
                  <a:gd name="connsiteX17" fmla="*/ 505511 w 1301061"/>
                  <a:gd name="connsiteY17" fmla="*/ 66619 h 431054"/>
                  <a:gd name="connsiteX18" fmla="*/ 658353 w 1301061"/>
                  <a:gd name="connsiteY18" fmla="*/ 0 h 431054"/>
                  <a:gd name="connsiteX19" fmla="*/ 811196 w 1301061"/>
                  <a:gd name="connsiteY19" fmla="*/ 62715 h 431054"/>
                  <a:gd name="connsiteX20" fmla="*/ 846472 w 1301061"/>
                  <a:gd name="connsiteY20" fmla="*/ 239064 h 431054"/>
                  <a:gd name="connsiteX21" fmla="*/ 815129 w 1301061"/>
                  <a:gd name="connsiteY21" fmla="*/ 325284 h 431054"/>
                  <a:gd name="connsiteX22" fmla="*/ 803360 w 1301061"/>
                  <a:gd name="connsiteY22" fmla="*/ 376231 h 431054"/>
                  <a:gd name="connsiteX23" fmla="*/ 1277554 w 1301061"/>
                  <a:gd name="connsiteY23" fmla="*/ 329216 h 431054"/>
                  <a:gd name="connsiteX24" fmla="*/ 1301062 w 1301061"/>
                  <a:gd name="connsiteY24" fmla="*/ 348821 h 431054"/>
                  <a:gd name="connsiteX25" fmla="*/ 1281458 w 1301061"/>
                  <a:gd name="connsiteY25" fmla="*/ 372328 h 431054"/>
                  <a:gd name="connsiteX26" fmla="*/ 787718 w 1301061"/>
                  <a:gd name="connsiteY26" fmla="*/ 427092 h 431054"/>
                  <a:gd name="connsiteX27" fmla="*/ 787718 w 1301061"/>
                  <a:gd name="connsiteY27" fmla="*/ 427092 h 4310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01061" h="431054">
                    <a:moveTo>
                      <a:pt x="787711" y="427100"/>
                    </a:moveTo>
                    <a:cubicBezTo>
                      <a:pt x="783778" y="427100"/>
                      <a:pt x="775942" y="423168"/>
                      <a:pt x="772039" y="419264"/>
                    </a:cubicBezTo>
                    <a:cubicBezTo>
                      <a:pt x="732860" y="380085"/>
                      <a:pt x="748532" y="344808"/>
                      <a:pt x="768107" y="309531"/>
                    </a:cubicBezTo>
                    <a:cubicBezTo>
                      <a:pt x="779875" y="289927"/>
                      <a:pt x="787711" y="262517"/>
                      <a:pt x="795547" y="235076"/>
                    </a:cubicBezTo>
                    <a:cubicBezTo>
                      <a:pt x="807315" y="176293"/>
                      <a:pt x="799479" y="125343"/>
                      <a:pt x="772039" y="94004"/>
                    </a:cubicBezTo>
                    <a:cubicBezTo>
                      <a:pt x="732861" y="50893"/>
                      <a:pt x="670147" y="46989"/>
                      <a:pt x="654474" y="46989"/>
                    </a:cubicBezTo>
                    <a:cubicBezTo>
                      <a:pt x="615295" y="46989"/>
                      <a:pt x="568254" y="58758"/>
                      <a:pt x="536908" y="97937"/>
                    </a:cubicBezTo>
                    <a:cubicBezTo>
                      <a:pt x="509468" y="129280"/>
                      <a:pt x="501632" y="172393"/>
                      <a:pt x="509468" y="223335"/>
                    </a:cubicBezTo>
                    <a:cubicBezTo>
                      <a:pt x="513400" y="254678"/>
                      <a:pt x="525140" y="278186"/>
                      <a:pt x="536908" y="301722"/>
                    </a:cubicBezTo>
                    <a:cubicBezTo>
                      <a:pt x="556512" y="340901"/>
                      <a:pt x="572183" y="380109"/>
                      <a:pt x="536908" y="423219"/>
                    </a:cubicBezTo>
                    <a:cubicBezTo>
                      <a:pt x="532976" y="427151"/>
                      <a:pt x="525140" y="431055"/>
                      <a:pt x="517304" y="431055"/>
                    </a:cubicBezTo>
                    <a:lnTo>
                      <a:pt x="19604" y="384040"/>
                    </a:lnTo>
                    <a:cubicBezTo>
                      <a:pt x="7836" y="384040"/>
                      <a:pt x="0" y="372272"/>
                      <a:pt x="0" y="360533"/>
                    </a:cubicBezTo>
                    <a:cubicBezTo>
                      <a:pt x="0" y="348765"/>
                      <a:pt x="11768" y="337026"/>
                      <a:pt x="23507" y="340929"/>
                    </a:cubicBezTo>
                    <a:lnTo>
                      <a:pt x="509443" y="384040"/>
                    </a:lnTo>
                    <a:cubicBezTo>
                      <a:pt x="517279" y="372272"/>
                      <a:pt x="513375" y="356600"/>
                      <a:pt x="497675" y="321325"/>
                    </a:cubicBezTo>
                    <a:cubicBezTo>
                      <a:pt x="485906" y="297817"/>
                      <a:pt x="474168" y="266474"/>
                      <a:pt x="466332" y="231196"/>
                    </a:cubicBezTo>
                    <a:cubicBezTo>
                      <a:pt x="454563" y="164577"/>
                      <a:pt x="470264" y="109699"/>
                      <a:pt x="505511" y="66619"/>
                    </a:cubicBezTo>
                    <a:cubicBezTo>
                      <a:pt x="548622" y="19604"/>
                      <a:pt x="611305" y="0"/>
                      <a:pt x="658353" y="0"/>
                    </a:cubicBezTo>
                    <a:cubicBezTo>
                      <a:pt x="681861" y="0"/>
                      <a:pt x="760246" y="3932"/>
                      <a:pt x="811196" y="62715"/>
                    </a:cubicBezTo>
                    <a:cubicBezTo>
                      <a:pt x="846472" y="105827"/>
                      <a:pt x="858211" y="164608"/>
                      <a:pt x="846472" y="239064"/>
                    </a:cubicBezTo>
                    <a:cubicBezTo>
                      <a:pt x="838636" y="274340"/>
                      <a:pt x="826868" y="305683"/>
                      <a:pt x="815129" y="325284"/>
                    </a:cubicBezTo>
                    <a:cubicBezTo>
                      <a:pt x="799457" y="356627"/>
                      <a:pt x="795525" y="364463"/>
                      <a:pt x="803360" y="376231"/>
                    </a:cubicBezTo>
                    <a:lnTo>
                      <a:pt x="1277554" y="329216"/>
                    </a:lnTo>
                    <a:cubicBezTo>
                      <a:pt x="1289323" y="329216"/>
                      <a:pt x="1301062" y="337052"/>
                      <a:pt x="1301062" y="348821"/>
                    </a:cubicBezTo>
                    <a:cubicBezTo>
                      <a:pt x="1301062" y="360589"/>
                      <a:pt x="1293226" y="372328"/>
                      <a:pt x="1281458" y="372328"/>
                    </a:cubicBezTo>
                    <a:lnTo>
                      <a:pt x="787718" y="427092"/>
                    </a:lnTo>
                    <a:cubicBezTo>
                      <a:pt x="791650" y="427092"/>
                      <a:pt x="791650" y="427092"/>
                      <a:pt x="787718" y="427092"/>
                    </a:cubicBezTo>
                    <a:close/>
                  </a:path>
                </a:pathLst>
              </a:custGeom>
              <a:grpFill/>
              <a:ln w="7348" cap="flat">
                <a:solidFill>
                  <a:srgbClr val="04143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FE75F5F7-3FA3-8811-D074-3A3EDF5642B7}"/>
              </a:ext>
            </a:extLst>
          </p:cNvPr>
          <p:cNvSpPr txBox="1"/>
          <p:nvPr/>
        </p:nvSpPr>
        <p:spPr>
          <a:xfrm>
            <a:off x="267607" y="1610612"/>
            <a:ext cx="8604000" cy="360000"/>
          </a:xfrm>
          <a:prstGeom prst="rect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1500" b="1">
                <a:solidFill>
                  <a:schemeClr val="l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defRPr/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C733F799-F0E1-5A4B-FD1C-EA37A4323135}"/>
              </a:ext>
            </a:extLst>
          </p:cNvPr>
          <p:cNvSpPr/>
          <p:nvPr/>
        </p:nvSpPr>
        <p:spPr>
          <a:xfrm>
            <a:off x="510148" y="2103678"/>
            <a:ext cx="8118919" cy="2495437"/>
          </a:xfrm>
          <a:custGeom>
            <a:avLst/>
            <a:gdLst>
              <a:gd name="connsiteX0" fmla="*/ 9999625 w 10514585"/>
              <a:gd name="connsiteY0" fmla="*/ 3231772 h 3231771"/>
              <a:gd name="connsiteX1" fmla="*/ 7798112 w 10514585"/>
              <a:gd name="connsiteY1" fmla="*/ 3231772 h 3231771"/>
              <a:gd name="connsiteX2" fmla="*/ 7283152 w 10514585"/>
              <a:gd name="connsiteY2" fmla="*/ 2716812 h 3231771"/>
              <a:gd name="connsiteX3" fmla="*/ 7283152 w 10514585"/>
              <a:gd name="connsiteY3" fmla="*/ 2341834 h 3231771"/>
              <a:gd name="connsiteX4" fmla="*/ 7063034 w 10514585"/>
              <a:gd name="connsiteY4" fmla="*/ 1626030 h 3231771"/>
              <a:gd name="connsiteX5" fmla="*/ 6836831 w 10514585"/>
              <a:gd name="connsiteY5" fmla="*/ 889599 h 3231771"/>
              <a:gd name="connsiteX6" fmla="*/ 6836831 w 10514585"/>
              <a:gd name="connsiteY6" fmla="*/ 514960 h 3231771"/>
              <a:gd name="connsiteX7" fmla="*/ 6358388 w 10514585"/>
              <a:gd name="connsiteY7" fmla="*/ 36517 h 3231771"/>
              <a:gd name="connsiteX8" fmla="*/ 4156874 w 10514585"/>
              <a:gd name="connsiteY8" fmla="*/ 36517 h 3231771"/>
              <a:gd name="connsiteX9" fmla="*/ 3678431 w 10514585"/>
              <a:gd name="connsiteY9" fmla="*/ 514960 h 3231771"/>
              <a:gd name="connsiteX10" fmla="*/ 3678431 w 10514585"/>
              <a:gd name="connsiteY10" fmla="*/ 889599 h 3231771"/>
              <a:gd name="connsiteX11" fmla="*/ 3452228 w 10514585"/>
              <a:gd name="connsiteY11" fmla="*/ 1626030 h 3231771"/>
              <a:gd name="connsiteX12" fmla="*/ 3232110 w 10514585"/>
              <a:gd name="connsiteY12" fmla="*/ 2341834 h 3231771"/>
              <a:gd name="connsiteX13" fmla="*/ 3232110 w 10514585"/>
              <a:gd name="connsiteY13" fmla="*/ 2716474 h 3231771"/>
              <a:gd name="connsiteX14" fmla="*/ 2717150 w 10514585"/>
              <a:gd name="connsiteY14" fmla="*/ 3231434 h 3231771"/>
              <a:gd name="connsiteX15" fmla="*/ 514960 w 10514585"/>
              <a:gd name="connsiteY15" fmla="*/ 3231434 h 3231771"/>
              <a:gd name="connsiteX16" fmla="*/ 0 w 10514585"/>
              <a:gd name="connsiteY16" fmla="*/ 2716474 h 3231771"/>
              <a:gd name="connsiteX17" fmla="*/ 0 w 10514585"/>
              <a:gd name="connsiteY17" fmla="*/ 514960 h 3231771"/>
              <a:gd name="connsiteX18" fmla="*/ 514960 w 10514585"/>
              <a:gd name="connsiteY18" fmla="*/ 0 h 3231771"/>
              <a:gd name="connsiteX19" fmla="*/ 2716474 w 10514585"/>
              <a:gd name="connsiteY19" fmla="*/ 0 h 3231771"/>
              <a:gd name="connsiteX20" fmla="*/ 3231434 w 10514585"/>
              <a:gd name="connsiteY20" fmla="*/ 514960 h 3231771"/>
              <a:gd name="connsiteX21" fmla="*/ 3231434 w 10514585"/>
              <a:gd name="connsiteY21" fmla="*/ 1234822 h 3231771"/>
              <a:gd name="connsiteX22" fmla="*/ 3195255 w 10514585"/>
              <a:gd name="connsiteY22" fmla="*/ 1234822 h 3231771"/>
              <a:gd name="connsiteX23" fmla="*/ 3195255 w 10514585"/>
              <a:gd name="connsiteY23" fmla="*/ 514960 h 3231771"/>
              <a:gd name="connsiteX24" fmla="*/ 2716812 w 10514585"/>
              <a:gd name="connsiteY24" fmla="*/ 36517 h 3231771"/>
              <a:gd name="connsiteX25" fmla="*/ 514960 w 10514585"/>
              <a:gd name="connsiteY25" fmla="*/ 36517 h 3231771"/>
              <a:gd name="connsiteX26" fmla="*/ 36517 w 10514585"/>
              <a:gd name="connsiteY26" fmla="*/ 514960 h 3231771"/>
              <a:gd name="connsiteX27" fmla="*/ 36517 w 10514585"/>
              <a:gd name="connsiteY27" fmla="*/ 2716474 h 3231771"/>
              <a:gd name="connsiteX28" fmla="*/ 514960 w 10514585"/>
              <a:gd name="connsiteY28" fmla="*/ 3194917 h 3231771"/>
              <a:gd name="connsiteX29" fmla="*/ 2716474 w 10514585"/>
              <a:gd name="connsiteY29" fmla="*/ 3194917 h 3231771"/>
              <a:gd name="connsiteX30" fmla="*/ 3194917 w 10514585"/>
              <a:gd name="connsiteY30" fmla="*/ 2716474 h 3231771"/>
              <a:gd name="connsiteX31" fmla="*/ 3194917 w 10514585"/>
              <a:gd name="connsiteY31" fmla="*/ 2341834 h 3231771"/>
              <a:gd name="connsiteX32" fmla="*/ 3421120 w 10514585"/>
              <a:gd name="connsiteY32" fmla="*/ 1605404 h 3231771"/>
              <a:gd name="connsiteX33" fmla="*/ 3641238 w 10514585"/>
              <a:gd name="connsiteY33" fmla="*/ 889599 h 3231771"/>
              <a:gd name="connsiteX34" fmla="*/ 3641238 w 10514585"/>
              <a:gd name="connsiteY34" fmla="*/ 514960 h 3231771"/>
              <a:gd name="connsiteX35" fmla="*/ 4156198 w 10514585"/>
              <a:gd name="connsiteY35" fmla="*/ 0 h 3231771"/>
              <a:gd name="connsiteX36" fmla="*/ 6357712 w 10514585"/>
              <a:gd name="connsiteY36" fmla="*/ 0 h 3231771"/>
              <a:gd name="connsiteX37" fmla="*/ 6872672 w 10514585"/>
              <a:gd name="connsiteY37" fmla="*/ 514960 h 3231771"/>
              <a:gd name="connsiteX38" fmla="*/ 6872672 w 10514585"/>
              <a:gd name="connsiteY38" fmla="*/ 889599 h 3231771"/>
              <a:gd name="connsiteX39" fmla="*/ 7092789 w 10514585"/>
              <a:gd name="connsiteY39" fmla="*/ 1605404 h 3231771"/>
              <a:gd name="connsiteX40" fmla="*/ 7318993 w 10514585"/>
              <a:gd name="connsiteY40" fmla="*/ 2341834 h 3231771"/>
              <a:gd name="connsiteX41" fmla="*/ 7318993 w 10514585"/>
              <a:gd name="connsiteY41" fmla="*/ 2716474 h 3231771"/>
              <a:gd name="connsiteX42" fmla="*/ 7797436 w 10514585"/>
              <a:gd name="connsiteY42" fmla="*/ 3194917 h 3231771"/>
              <a:gd name="connsiteX43" fmla="*/ 9998949 w 10514585"/>
              <a:gd name="connsiteY43" fmla="*/ 3194917 h 3231771"/>
              <a:gd name="connsiteX44" fmla="*/ 10477392 w 10514585"/>
              <a:gd name="connsiteY44" fmla="*/ 2716474 h 3231771"/>
              <a:gd name="connsiteX45" fmla="*/ 10477392 w 10514585"/>
              <a:gd name="connsiteY45" fmla="*/ 514960 h 3231771"/>
              <a:gd name="connsiteX46" fmla="*/ 9998949 w 10514585"/>
              <a:gd name="connsiteY46" fmla="*/ 36517 h 3231771"/>
              <a:gd name="connsiteX47" fmla="*/ 7797436 w 10514585"/>
              <a:gd name="connsiteY47" fmla="*/ 36517 h 3231771"/>
              <a:gd name="connsiteX48" fmla="*/ 7318993 w 10514585"/>
              <a:gd name="connsiteY48" fmla="*/ 514960 h 3231771"/>
              <a:gd name="connsiteX49" fmla="*/ 7318993 w 10514585"/>
              <a:gd name="connsiteY49" fmla="*/ 1234822 h 3231771"/>
              <a:gd name="connsiteX50" fmla="*/ 7283152 w 10514585"/>
              <a:gd name="connsiteY50" fmla="*/ 1234822 h 3231771"/>
              <a:gd name="connsiteX51" fmla="*/ 7283152 w 10514585"/>
              <a:gd name="connsiteY51" fmla="*/ 514960 h 3231771"/>
              <a:gd name="connsiteX52" fmla="*/ 7798112 w 10514585"/>
              <a:gd name="connsiteY52" fmla="*/ 0 h 3231771"/>
              <a:gd name="connsiteX53" fmla="*/ 9999625 w 10514585"/>
              <a:gd name="connsiteY53" fmla="*/ 0 h 3231771"/>
              <a:gd name="connsiteX54" fmla="*/ 10514585 w 10514585"/>
              <a:gd name="connsiteY54" fmla="*/ 514960 h 3231771"/>
              <a:gd name="connsiteX55" fmla="*/ 10514585 w 10514585"/>
              <a:gd name="connsiteY55" fmla="*/ 2716474 h 3231771"/>
              <a:gd name="connsiteX56" fmla="*/ 9999625 w 10514585"/>
              <a:gd name="connsiteY56" fmla="*/ 3231772 h 3231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10514585" h="3231771">
                <a:moveTo>
                  <a:pt x="9999625" y="3231772"/>
                </a:moveTo>
                <a:lnTo>
                  <a:pt x="7798112" y="3231772"/>
                </a:lnTo>
                <a:cubicBezTo>
                  <a:pt x="7514090" y="3231772"/>
                  <a:pt x="7283152" y="3000834"/>
                  <a:pt x="7283152" y="2716812"/>
                </a:cubicBezTo>
                <a:lnTo>
                  <a:pt x="7283152" y="2341834"/>
                </a:lnTo>
                <a:cubicBezTo>
                  <a:pt x="7283152" y="2085538"/>
                  <a:pt x="7207075" y="1838032"/>
                  <a:pt x="7063034" y="1626030"/>
                </a:cubicBezTo>
                <a:cubicBezTo>
                  <a:pt x="6914937" y="1407941"/>
                  <a:pt x="6836831" y="1153335"/>
                  <a:pt x="6836831" y="889599"/>
                </a:cubicBezTo>
                <a:lnTo>
                  <a:pt x="6836831" y="514960"/>
                </a:lnTo>
                <a:cubicBezTo>
                  <a:pt x="6836831" y="251225"/>
                  <a:pt x="6622123" y="36517"/>
                  <a:pt x="6358388" y="36517"/>
                </a:cubicBezTo>
                <a:lnTo>
                  <a:pt x="4156874" y="36517"/>
                </a:lnTo>
                <a:cubicBezTo>
                  <a:pt x="3893139" y="36517"/>
                  <a:pt x="3678431" y="251225"/>
                  <a:pt x="3678431" y="514960"/>
                </a:cubicBezTo>
                <a:lnTo>
                  <a:pt x="3678431" y="889599"/>
                </a:lnTo>
                <a:cubicBezTo>
                  <a:pt x="3678431" y="1153335"/>
                  <a:pt x="3600325" y="1407941"/>
                  <a:pt x="3452228" y="1626030"/>
                </a:cubicBezTo>
                <a:cubicBezTo>
                  <a:pt x="3308188" y="1838032"/>
                  <a:pt x="3232110" y="2085538"/>
                  <a:pt x="3232110" y="2341834"/>
                </a:cubicBezTo>
                <a:lnTo>
                  <a:pt x="3232110" y="2716474"/>
                </a:lnTo>
                <a:cubicBezTo>
                  <a:pt x="3232110" y="3000496"/>
                  <a:pt x="3001173" y="3231434"/>
                  <a:pt x="2717150" y="3231434"/>
                </a:cubicBezTo>
                <a:lnTo>
                  <a:pt x="514960" y="3231434"/>
                </a:lnTo>
                <a:cubicBezTo>
                  <a:pt x="230937" y="3231772"/>
                  <a:pt x="0" y="3000496"/>
                  <a:pt x="0" y="2716474"/>
                </a:cubicBezTo>
                <a:lnTo>
                  <a:pt x="0" y="514960"/>
                </a:lnTo>
                <a:cubicBezTo>
                  <a:pt x="0" y="230937"/>
                  <a:pt x="230937" y="0"/>
                  <a:pt x="514960" y="0"/>
                </a:cubicBezTo>
                <a:lnTo>
                  <a:pt x="2716474" y="0"/>
                </a:lnTo>
                <a:cubicBezTo>
                  <a:pt x="3000496" y="0"/>
                  <a:pt x="3231434" y="230937"/>
                  <a:pt x="3231434" y="514960"/>
                </a:cubicBezTo>
                <a:lnTo>
                  <a:pt x="3231434" y="1234822"/>
                </a:lnTo>
                <a:lnTo>
                  <a:pt x="3195255" y="1234822"/>
                </a:lnTo>
                <a:lnTo>
                  <a:pt x="3195255" y="514960"/>
                </a:lnTo>
                <a:cubicBezTo>
                  <a:pt x="3195255" y="251225"/>
                  <a:pt x="2980547" y="36517"/>
                  <a:pt x="2716812" y="36517"/>
                </a:cubicBezTo>
                <a:lnTo>
                  <a:pt x="514960" y="36517"/>
                </a:lnTo>
                <a:cubicBezTo>
                  <a:pt x="251225" y="36517"/>
                  <a:pt x="36517" y="251225"/>
                  <a:pt x="36517" y="514960"/>
                </a:cubicBezTo>
                <a:lnTo>
                  <a:pt x="36517" y="2716474"/>
                </a:lnTo>
                <a:cubicBezTo>
                  <a:pt x="36517" y="2980209"/>
                  <a:pt x="251225" y="3194917"/>
                  <a:pt x="514960" y="3194917"/>
                </a:cubicBezTo>
                <a:lnTo>
                  <a:pt x="2716474" y="3194917"/>
                </a:lnTo>
                <a:cubicBezTo>
                  <a:pt x="2980209" y="3194917"/>
                  <a:pt x="3194917" y="2980209"/>
                  <a:pt x="3194917" y="2716474"/>
                </a:cubicBezTo>
                <a:lnTo>
                  <a:pt x="3194917" y="2341834"/>
                </a:lnTo>
                <a:cubicBezTo>
                  <a:pt x="3194917" y="2078099"/>
                  <a:pt x="3273023" y="1823493"/>
                  <a:pt x="3421120" y="1605404"/>
                </a:cubicBezTo>
                <a:cubicBezTo>
                  <a:pt x="3565161" y="1393402"/>
                  <a:pt x="3641238" y="1145896"/>
                  <a:pt x="3641238" y="889599"/>
                </a:cubicBezTo>
                <a:lnTo>
                  <a:pt x="3641238" y="514960"/>
                </a:lnTo>
                <a:cubicBezTo>
                  <a:pt x="3641238" y="230937"/>
                  <a:pt x="3872175" y="0"/>
                  <a:pt x="4156198" y="0"/>
                </a:cubicBezTo>
                <a:lnTo>
                  <a:pt x="6357712" y="0"/>
                </a:lnTo>
                <a:cubicBezTo>
                  <a:pt x="6641735" y="0"/>
                  <a:pt x="6872672" y="230937"/>
                  <a:pt x="6872672" y="514960"/>
                </a:cubicBezTo>
                <a:lnTo>
                  <a:pt x="6872672" y="889599"/>
                </a:lnTo>
                <a:cubicBezTo>
                  <a:pt x="6872672" y="1145896"/>
                  <a:pt x="6948750" y="1393402"/>
                  <a:pt x="7092789" y="1605404"/>
                </a:cubicBezTo>
                <a:cubicBezTo>
                  <a:pt x="7240887" y="1823493"/>
                  <a:pt x="7318993" y="2078099"/>
                  <a:pt x="7318993" y="2341834"/>
                </a:cubicBezTo>
                <a:lnTo>
                  <a:pt x="7318993" y="2716474"/>
                </a:lnTo>
                <a:cubicBezTo>
                  <a:pt x="7318993" y="2980209"/>
                  <a:pt x="7533701" y="3194917"/>
                  <a:pt x="7797436" y="3194917"/>
                </a:cubicBezTo>
                <a:lnTo>
                  <a:pt x="9998949" y="3194917"/>
                </a:lnTo>
                <a:cubicBezTo>
                  <a:pt x="10262684" y="3194917"/>
                  <a:pt x="10477392" y="2980209"/>
                  <a:pt x="10477392" y="2716474"/>
                </a:cubicBezTo>
                <a:lnTo>
                  <a:pt x="10477392" y="514960"/>
                </a:lnTo>
                <a:cubicBezTo>
                  <a:pt x="10477392" y="251225"/>
                  <a:pt x="10262684" y="36517"/>
                  <a:pt x="9998949" y="36517"/>
                </a:cubicBezTo>
                <a:lnTo>
                  <a:pt x="7797436" y="36517"/>
                </a:lnTo>
                <a:cubicBezTo>
                  <a:pt x="7533701" y="36517"/>
                  <a:pt x="7318993" y="251225"/>
                  <a:pt x="7318993" y="514960"/>
                </a:cubicBezTo>
                <a:lnTo>
                  <a:pt x="7318993" y="1234822"/>
                </a:lnTo>
                <a:lnTo>
                  <a:pt x="7283152" y="1234822"/>
                </a:lnTo>
                <a:lnTo>
                  <a:pt x="7283152" y="514960"/>
                </a:lnTo>
                <a:cubicBezTo>
                  <a:pt x="7283152" y="230937"/>
                  <a:pt x="7514090" y="0"/>
                  <a:pt x="7798112" y="0"/>
                </a:cubicBezTo>
                <a:lnTo>
                  <a:pt x="9999625" y="0"/>
                </a:lnTo>
                <a:cubicBezTo>
                  <a:pt x="10283648" y="0"/>
                  <a:pt x="10514585" y="230937"/>
                  <a:pt x="10514585" y="514960"/>
                </a:cubicBezTo>
                <a:lnTo>
                  <a:pt x="10514585" y="2716474"/>
                </a:lnTo>
                <a:cubicBezTo>
                  <a:pt x="10514585" y="3000496"/>
                  <a:pt x="10283648" y="3231772"/>
                  <a:pt x="9999625" y="3231772"/>
                </a:cubicBezTo>
                <a:close/>
              </a:path>
            </a:pathLst>
          </a:custGeom>
          <a:solidFill>
            <a:srgbClr val="002060"/>
          </a:solidFill>
          <a:ln w="3381" cap="flat">
            <a:noFill/>
            <a:prstDash val="solid"/>
            <a:miter/>
          </a:ln>
        </p:spPr>
        <p:txBody>
          <a:bodyPr rtlCol="0" anchor="ctr"/>
          <a:lstStyle/>
          <a:p>
            <a:endParaRPr lang="en-IN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87DE477F-99AD-1370-866A-97C3C8880D0C}"/>
              </a:ext>
            </a:extLst>
          </p:cNvPr>
          <p:cNvSpPr/>
          <p:nvPr/>
        </p:nvSpPr>
        <p:spPr>
          <a:xfrm>
            <a:off x="2949192" y="3012771"/>
            <a:ext cx="84591" cy="84591"/>
          </a:xfrm>
          <a:custGeom>
            <a:avLst/>
            <a:gdLst>
              <a:gd name="connsiteX0" fmla="*/ 109551 w 109551"/>
              <a:gd name="connsiteY0" fmla="*/ 54776 h 109551"/>
              <a:gd name="connsiteX1" fmla="*/ 54776 w 109551"/>
              <a:gd name="connsiteY1" fmla="*/ 109552 h 109551"/>
              <a:gd name="connsiteX2" fmla="*/ 0 w 109551"/>
              <a:gd name="connsiteY2" fmla="*/ 54776 h 109551"/>
              <a:gd name="connsiteX3" fmla="*/ 54776 w 109551"/>
              <a:gd name="connsiteY3" fmla="*/ 0 h 109551"/>
              <a:gd name="connsiteX4" fmla="*/ 109551 w 109551"/>
              <a:gd name="connsiteY4" fmla="*/ 54776 h 109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551" h="109551">
                <a:moveTo>
                  <a:pt x="109551" y="54776"/>
                </a:moveTo>
                <a:cubicBezTo>
                  <a:pt x="109551" y="85207"/>
                  <a:pt x="84869" y="109552"/>
                  <a:pt x="54776" y="109552"/>
                </a:cubicBezTo>
                <a:cubicBezTo>
                  <a:pt x="24683" y="109552"/>
                  <a:pt x="0" y="84869"/>
                  <a:pt x="0" y="54776"/>
                </a:cubicBezTo>
                <a:cubicBezTo>
                  <a:pt x="0" y="24345"/>
                  <a:pt x="24683" y="0"/>
                  <a:pt x="54776" y="0"/>
                </a:cubicBezTo>
                <a:cubicBezTo>
                  <a:pt x="84869" y="0"/>
                  <a:pt x="109551" y="24345"/>
                  <a:pt x="109551" y="54776"/>
                </a:cubicBezTo>
                <a:close/>
              </a:path>
            </a:pathLst>
          </a:custGeom>
          <a:solidFill>
            <a:srgbClr val="002060"/>
          </a:solidFill>
          <a:ln w="3381" cap="flat">
            <a:noFill/>
            <a:prstDash val="solid"/>
            <a:miter/>
          </a:ln>
        </p:spPr>
        <p:txBody>
          <a:bodyPr rtlCol="0" anchor="ctr"/>
          <a:lstStyle/>
          <a:p>
            <a:endParaRPr lang="en-IN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B8146990-BBBF-A3F2-EF9C-93E0F5CA5B0B}"/>
              </a:ext>
            </a:extLst>
          </p:cNvPr>
          <p:cNvSpPr/>
          <p:nvPr/>
        </p:nvSpPr>
        <p:spPr>
          <a:xfrm>
            <a:off x="6105432" y="3012771"/>
            <a:ext cx="84591" cy="84591"/>
          </a:xfrm>
          <a:custGeom>
            <a:avLst/>
            <a:gdLst>
              <a:gd name="connsiteX0" fmla="*/ 0 w 109551"/>
              <a:gd name="connsiteY0" fmla="*/ 54776 h 109551"/>
              <a:gd name="connsiteX1" fmla="*/ 54776 w 109551"/>
              <a:gd name="connsiteY1" fmla="*/ 109552 h 109551"/>
              <a:gd name="connsiteX2" fmla="*/ 109551 w 109551"/>
              <a:gd name="connsiteY2" fmla="*/ 54776 h 109551"/>
              <a:gd name="connsiteX3" fmla="*/ 54776 w 109551"/>
              <a:gd name="connsiteY3" fmla="*/ 0 h 109551"/>
              <a:gd name="connsiteX4" fmla="*/ 0 w 109551"/>
              <a:gd name="connsiteY4" fmla="*/ 54776 h 109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551" h="109551">
                <a:moveTo>
                  <a:pt x="0" y="54776"/>
                </a:moveTo>
                <a:cubicBezTo>
                  <a:pt x="0" y="85207"/>
                  <a:pt x="24682" y="109552"/>
                  <a:pt x="54776" y="109552"/>
                </a:cubicBezTo>
                <a:cubicBezTo>
                  <a:pt x="84868" y="109552"/>
                  <a:pt x="109551" y="84869"/>
                  <a:pt x="109551" y="54776"/>
                </a:cubicBezTo>
                <a:cubicBezTo>
                  <a:pt x="109551" y="24345"/>
                  <a:pt x="84868" y="0"/>
                  <a:pt x="54776" y="0"/>
                </a:cubicBezTo>
                <a:cubicBezTo>
                  <a:pt x="24682" y="0"/>
                  <a:pt x="0" y="24345"/>
                  <a:pt x="0" y="54776"/>
                </a:cubicBezTo>
                <a:close/>
              </a:path>
            </a:pathLst>
          </a:custGeom>
          <a:solidFill>
            <a:srgbClr val="002060"/>
          </a:solidFill>
          <a:ln w="3381" cap="flat">
            <a:noFill/>
            <a:prstDash val="solid"/>
            <a:miter/>
          </a:ln>
        </p:spPr>
        <p:txBody>
          <a:bodyPr rtlCol="0" anchor="ctr"/>
          <a:lstStyle/>
          <a:p>
            <a:endParaRPr lang="en-IN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1A93E027-2536-434E-4932-13B4F5259D64}"/>
              </a:ext>
            </a:extLst>
          </p:cNvPr>
          <p:cNvSpPr/>
          <p:nvPr/>
        </p:nvSpPr>
        <p:spPr>
          <a:xfrm>
            <a:off x="3322018" y="3645376"/>
            <a:ext cx="2495176" cy="953738"/>
          </a:xfrm>
          <a:custGeom>
            <a:avLst/>
            <a:gdLst>
              <a:gd name="connsiteX0" fmla="*/ 2716474 w 3231433"/>
              <a:gd name="connsiteY0" fmla="*/ 1235160 h 1235160"/>
              <a:gd name="connsiteX1" fmla="*/ 514960 w 3231433"/>
              <a:gd name="connsiteY1" fmla="*/ 1235160 h 1235160"/>
              <a:gd name="connsiteX2" fmla="*/ 0 w 3231433"/>
              <a:gd name="connsiteY2" fmla="*/ 720200 h 1235160"/>
              <a:gd name="connsiteX3" fmla="*/ 0 w 3231433"/>
              <a:gd name="connsiteY3" fmla="*/ 0 h 1235160"/>
              <a:gd name="connsiteX4" fmla="*/ 36517 w 3231433"/>
              <a:gd name="connsiteY4" fmla="*/ 0 h 1235160"/>
              <a:gd name="connsiteX5" fmla="*/ 36517 w 3231433"/>
              <a:gd name="connsiteY5" fmla="*/ 719862 h 1235160"/>
              <a:gd name="connsiteX6" fmla="*/ 514960 w 3231433"/>
              <a:gd name="connsiteY6" fmla="*/ 1198305 h 1235160"/>
              <a:gd name="connsiteX7" fmla="*/ 2716474 w 3231433"/>
              <a:gd name="connsiteY7" fmla="*/ 1198305 h 1235160"/>
              <a:gd name="connsiteX8" fmla="*/ 3194917 w 3231433"/>
              <a:gd name="connsiteY8" fmla="*/ 719862 h 1235160"/>
              <a:gd name="connsiteX9" fmla="*/ 3194917 w 3231433"/>
              <a:gd name="connsiteY9" fmla="*/ 0 h 1235160"/>
              <a:gd name="connsiteX10" fmla="*/ 3231434 w 3231433"/>
              <a:gd name="connsiteY10" fmla="*/ 0 h 1235160"/>
              <a:gd name="connsiteX11" fmla="*/ 3231434 w 3231433"/>
              <a:gd name="connsiteY11" fmla="*/ 719862 h 1235160"/>
              <a:gd name="connsiteX12" fmla="*/ 2716474 w 3231433"/>
              <a:gd name="connsiteY12" fmla="*/ 1235160 h 1235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231433" h="1235160">
                <a:moveTo>
                  <a:pt x="2716474" y="1235160"/>
                </a:moveTo>
                <a:lnTo>
                  <a:pt x="514960" y="1235160"/>
                </a:lnTo>
                <a:cubicBezTo>
                  <a:pt x="230938" y="1235160"/>
                  <a:pt x="0" y="1004223"/>
                  <a:pt x="0" y="720200"/>
                </a:cubicBezTo>
                <a:lnTo>
                  <a:pt x="0" y="0"/>
                </a:lnTo>
                <a:lnTo>
                  <a:pt x="36517" y="0"/>
                </a:lnTo>
                <a:lnTo>
                  <a:pt x="36517" y="719862"/>
                </a:lnTo>
                <a:cubicBezTo>
                  <a:pt x="36517" y="983598"/>
                  <a:pt x="251225" y="1198305"/>
                  <a:pt x="514960" y="1198305"/>
                </a:cubicBezTo>
                <a:lnTo>
                  <a:pt x="2716474" y="1198305"/>
                </a:lnTo>
                <a:cubicBezTo>
                  <a:pt x="2980209" y="1198305"/>
                  <a:pt x="3194917" y="983598"/>
                  <a:pt x="3194917" y="719862"/>
                </a:cubicBezTo>
                <a:lnTo>
                  <a:pt x="3194917" y="0"/>
                </a:lnTo>
                <a:lnTo>
                  <a:pt x="3231434" y="0"/>
                </a:lnTo>
                <a:lnTo>
                  <a:pt x="3231434" y="719862"/>
                </a:lnTo>
                <a:cubicBezTo>
                  <a:pt x="3231434" y="1003885"/>
                  <a:pt x="3000496" y="1235160"/>
                  <a:pt x="2716474" y="1235160"/>
                </a:cubicBezTo>
                <a:close/>
              </a:path>
            </a:pathLst>
          </a:custGeom>
          <a:solidFill>
            <a:srgbClr val="4285F4"/>
          </a:solidFill>
          <a:ln w="3381" cap="flat">
            <a:noFill/>
            <a:prstDash val="solid"/>
            <a:miter/>
          </a:ln>
        </p:spPr>
        <p:txBody>
          <a:bodyPr rtlCol="0" anchor="ctr"/>
          <a:lstStyle/>
          <a:p>
            <a:endParaRPr lang="en-IN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F509F995-575F-360B-5D61-D5458B7A5559}"/>
              </a:ext>
            </a:extLst>
          </p:cNvPr>
          <p:cNvSpPr/>
          <p:nvPr/>
        </p:nvSpPr>
        <p:spPr>
          <a:xfrm>
            <a:off x="5760802" y="3605170"/>
            <a:ext cx="84591" cy="84594"/>
          </a:xfrm>
          <a:custGeom>
            <a:avLst/>
            <a:gdLst>
              <a:gd name="connsiteX0" fmla="*/ 0 w 109551"/>
              <a:gd name="connsiteY0" fmla="*/ 54776 h 109555"/>
              <a:gd name="connsiteX1" fmla="*/ 54776 w 109551"/>
              <a:gd name="connsiteY1" fmla="*/ 0 h 109555"/>
              <a:gd name="connsiteX2" fmla="*/ 109552 w 109551"/>
              <a:gd name="connsiteY2" fmla="*/ 54776 h 109555"/>
              <a:gd name="connsiteX3" fmla="*/ 54776 w 109551"/>
              <a:gd name="connsiteY3" fmla="*/ 109552 h 109555"/>
              <a:gd name="connsiteX4" fmla="*/ 0 w 109551"/>
              <a:gd name="connsiteY4" fmla="*/ 54776 h 109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551" h="109555">
                <a:moveTo>
                  <a:pt x="0" y="54776"/>
                </a:moveTo>
                <a:cubicBezTo>
                  <a:pt x="0" y="24345"/>
                  <a:pt x="24683" y="0"/>
                  <a:pt x="54776" y="0"/>
                </a:cubicBezTo>
                <a:cubicBezTo>
                  <a:pt x="85207" y="0"/>
                  <a:pt x="109552" y="24683"/>
                  <a:pt x="109552" y="54776"/>
                </a:cubicBezTo>
                <a:cubicBezTo>
                  <a:pt x="109552" y="85207"/>
                  <a:pt x="84869" y="109552"/>
                  <a:pt x="54776" y="109552"/>
                </a:cubicBezTo>
                <a:cubicBezTo>
                  <a:pt x="24683" y="109890"/>
                  <a:pt x="0" y="85207"/>
                  <a:pt x="0" y="54776"/>
                </a:cubicBezTo>
                <a:close/>
              </a:path>
            </a:pathLst>
          </a:custGeom>
          <a:solidFill>
            <a:srgbClr val="4285F4"/>
          </a:solidFill>
          <a:ln w="3381" cap="flat">
            <a:noFill/>
            <a:prstDash val="solid"/>
            <a:miter/>
          </a:ln>
        </p:spPr>
        <p:txBody>
          <a:bodyPr rtlCol="0" anchor="ctr"/>
          <a:lstStyle/>
          <a:p>
            <a:endParaRPr lang="en-IN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8F211A63-8C80-3605-26D4-6606FA0A5F92}"/>
              </a:ext>
            </a:extLst>
          </p:cNvPr>
          <p:cNvSpPr/>
          <p:nvPr/>
        </p:nvSpPr>
        <p:spPr>
          <a:xfrm>
            <a:off x="3293822" y="3605170"/>
            <a:ext cx="84591" cy="84594"/>
          </a:xfrm>
          <a:custGeom>
            <a:avLst/>
            <a:gdLst>
              <a:gd name="connsiteX0" fmla="*/ 109552 w 109551"/>
              <a:gd name="connsiteY0" fmla="*/ 54776 h 109555"/>
              <a:gd name="connsiteX1" fmla="*/ 54776 w 109551"/>
              <a:gd name="connsiteY1" fmla="*/ 0 h 109555"/>
              <a:gd name="connsiteX2" fmla="*/ 0 w 109551"/>
              <a:gd name="connsiteY2" fmla="*/ 54776 h 109555"/>
              <a:gd name="connsiteX3" fmla="*/ 54776 w 109551"/>
              <a:gd name="connsiteY3" fmla="*/ 109552 h 109555"/>
              <a:gd name="connsiteX4" fmla="*/ 109552 w 109551"/>
              <a:gd name="connsiteY4" fmla="*/ 54776 h 109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551" h="109555">
                <a:moveTo>
                  <a:pt x="109552" y="54776"/>
                </a:moveTo>
                <a:cubicBezTo>
                  <a:pt x="109552" y="24345"/>
                  <a:pt x="84869" y="0"/>
                  <a:pt x="54776" y="0"/>
                </a:cubicBezTo>
                <a:cubicBezTo>
                  <a:pt x="24345" y="0"/>
                  <a:pt x="0" y="24683"/>
                  <a:pt x="0" y="54776"/>
                </a:cubicBezTo>
                <a:cubicBezTo>
                  <a:pt x="0" y="85207"/>
                  <a:pt x="24683" y="109552"/>
                  <a:pt x="54776" y="109552"/>
                </a:cubicBezTo>
                <a:cubicBezTo>
                  <a:pt x="85207" y="109890"/>
                  <a:pt x="109552" y="85207"/>
                  <a:pt x="109552" y="54776"/>
                </a:cubicBezTo>
                <a:close/>
              </a:path>
            </a:pathLst>
          </a:custGeom>
          <a:solidFill>
            <a:srgbClr val="4285F4"/>
          </a:solidFill>
          <a:ln w="3381" cap="flat">
            <a:noFill/>
            <a:prstDash val="solid"/>
            <a:miter/>
          </a:ln>
        </p:spPr>
        <p:txBody>
          <a:bodyPr rtlCol="0" anchor="ctr"/>
          <a:lstStyle/>
          <a:p>
            <a:endParaRPr lang="en-IN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ABE507B7-BE96-CE32-991E-C8EC2BDD3E94}"/>
              </a:ext>
            </a:extLst>
          </p:cNvPr>
          <p:cNvSpPr/>
          <p:nvPr/>
        </p:nvSpPr>
        <p:spPr>
          <a:xfrm>
            <a:off x="635728" y="2229258"/>
            <a:ext cx="2244014" cy="2244014"/>
          </a:xfrm>
          <a:custGeom>
            <a:avLst/>
            <a:gdLst>
              <a:gd name="connsiteX0" fmla="*/ 451731 w 2906160"/>
              <a:gd name="connsiteY0" fmla="*/ 0 h 2906160"/>
              <a:gd name="connsiteX1" fmla="*/ 2454429 w 2906160"/>
              <a:gd name="connsiteY1" fmla="*/ 0 h 2906160"/>
              <a:gd name="connsiteX2" fmla="*/ 2906160 w 2906160"/>
              <a:gd name="connsiteY2" fmla="*/ 451731 h 2906160"/>
              <a:gd name="connsiteX3" fmla="*/ 2906160 w 2906160"/>
              <a:gd name="connsiteY3" fmla="*/ 2454429 h 2906160"/>
              <a:gd name="connsiteX4" fmla="*/ 2454429 w 2906160"/>
              <a:gd name="connsiteY4" fmla="*/ 2906160 h 2906160"/>
              <a:gd name="connsiteX5" fmla="*/ 451731 w 2906160"/>
              <a:gd name="connsiteY5" fmla="*/ 2906160 h 2906160"/>
              <a:gd name="connsiteX6" fmla="*/ 0 w 2906160"/>
              <a:gd name="connsiteY6" fmla="*/ 2454429 h 2906160"/>
              <a:gd name="connsiteX7" fmla="*/ 0 w 2906160"/>
              <a:gd name="connsiteY7" fmla="*/ 451731 h 2906160"/>
              <a:gd name="connsiteX8" fmla="*/ 451731 w 2906160"/>
              <a:gd name="connsiteY8" fmla="*/ 0 h 2906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06160" h="2906160">
                <a:moveTo>
                  <a:pt x="451731" y="0"/>
                </a:moveTo>
                <a:lnTo>
                  <a:pt x="2454429" y="0"/>
                </a:lnTo>
                <a:cubicBezTo>
                  <a:pt x="2703963" y="0"/>
                  <a:pt x="2906160" y="202197"/>
                  <a:pt x="2906160" y="451731"/>
                </a:cubicBezTo>
                <a:lnTo>
                  <a:pt x="2906160" y="2454429"/>
                </a:lnTo>
                <a:cubicBezTo>
                  <a:pt x="2906160" y="2703963"/>
                  <a:pt x="2703963" y="2906160"/>
                  <a:pt x="2454429" y="2906160"/>
                </a:cubicBezTo>
                <a:lnTo>
                  <a:pt x="451731" y="2906160"/>
                </a:lnTo>
                <a:cubicBezTo>
                  <a:pt x="202197" y="2906160"/>
                  <a:pt x="0" y="2703963"/>
                  <a:pt x="0" y="2454429"/>
                </a:cubicBezTo>
                <a:lnTo>
                  <a:pt x="0" y="451731"/>
                </a:lnTo>
                <a:cubicBezTo>
                  <a:pt x="0" y="202197"/>
                  <a:pt x="202197" y="0"/>
                  <a:pt x="451731" y="0"/>
                </a:cubicBezTo>
                <a:close/>
              </a:path>
            </a:pathLst>
          </a:custGeom>
          <a:solidFill>
            <a:schemeClr val="bg1"/>
          </a:solidFill>
          <a:ln w="3381" cap="flat">
            <a:noFill/>
            <a:prstDash val="solid"/>
            <a:miter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endParaRPr lang="en-IN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976210B5-2F60-6A91-BA1F-47B8D40F1428}"/>
              </a:ext>
            </a:extLst>
          </p:cNvPr>
          <p:cNvSpPr/>
          <p:nvPr/>
        </p:nvSpPr>
        <p:spPr>
          <a:xfrm>
            <a:off x="3447600" y="2229258"/>
            <a:ext cx="2244014" cy="2244014"/>
          </a:xfrm>
          <a:custGeom>
            <a:avLst/>
            <a:gdLst>
              <a:gd name="connsiteX0" fmla="*/ 451731 w 2906160"/>
              <a:gd name="connsiteY0" fmla="*/ 0 h 2906160"/>
              <a:gd name="connsiteX1" fmla="*/ 2454429 w 2906160"/>
              <a:gd name="connsiteY1" fmla="*/ 0 h 2906160"/>
              <a:gd name="connsiteX2" fmla="*/ 2906160 w 2906160"/>
              <a:gd name="connsiteY2" fmla="*/ 451731 h 2906160"/>
              <a:gd name="connsiteX3" fmla="*/ 2906160 w 2906160"/>
              <a:gd name="connsiteY3" fmla="*/ 2454429 h 2906160"/>
              <a:gd name="connsiteX4" fmla="*/ 2454429 w 2906160"/>
              <a:gd name="connsiteY4" fmla="*/ 2906160 h 2906160"/>
              <a:gd name="connsiteX5" fmla="*/ 451731 w 2906160"/>
              <a:gd name="connsiteY5" fmla="*/ 2906160 h 2906160"/>
              <a:gd name="connsiteX6" fmla="*/ 0 w 2906160"/>
              <a:gd name="connsiteY6" fmla="*/ 2454429 h 2906160"/>
              <a:gd name="connsiteX7" fmla="*/ 0 w 2906160"/>
              <a:gd name="connsiteY7" fmla="*/ 451731 h 2906160"/>
              <a:gd name="connsiteX8" fmla="*/ 451731 w 2906160"/>
              <a:gd name="connsiteY8" fmla="*/ 0 h 2906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06160" h="2906160">
                <a:moveTo>
                  <a:pt x="451731" y="0"/>
                </a:moveTo>
                <a:lnTo>
                  <a:pt x="2454429" y="0"/>
                </a:lnTo>
                <a:cubicBezTo>
                  <a:pt x="2703963" y="0"/>
                  <a:pt x="2906160" y="202197"/>
                  <a:pt x="2906160" y="451731"/>
                </a:cubicBezTo>
                <a:lnTo>
                  <a:pt x="2906160" y="2454429"/>
                </a:lnTo>
                <a:cubicBezTo>
                  <a:pt x="2906160" y="2703963"/>
                  <a:pt x="2703963" y="2906160"/>
                  <a:pt x="2454429" y="2906160"/>
                </a:cubicBezTo>
                <a:lnTo>
                  <a:pt x="451731" y="2906160"/>
                </a:lnTo>
                <a:cubicBezTo>
                  <a:pt x="202197" y="2906160"/>
                  <a:pt x="0" y="2703963"/>
                  <a:pt x="0" y="2454429"/>
                </a:cubicBezTo>
                <a:lnTo>
                  <a:pt x="0" y="451731"/>
                </a:lnTo>
                <a:cubicBezTo>
                  <a:pt x="0" y="202197"/>
                  <a:pt x="202197" y="0"/>
                  <a:pt x="451731" y="0"/>
                </a:cubicBezTo>
                <a:close/>
              </a:path>
            </a:pathLst>
          </a:custGeom>
          <a:solidFill>
            <a:schemeClr val="bg1"/>
          </a:solidFill>
          <a:ln w="3381" cap="flat">
            <a:noFill/>
            <a:prstDash val="solid"/>
            <a:miter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endParaRPr lang="en-IN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4B3EF0C3-2D8C-9F33-AE52-246A61F4CBC0}"/>
              </a:ext>
            </a:extLst>
          </p:cNvPr>
          <p:cNvSpPr/>
          <p:nvPr/>
        </p:nvSpPr>
        <p:spPr>
          <a:xfrm>
            <a:off x="6259471" y="2229258"/>
            <a:ext cx="2244014" cy="2244014"/>
          </a:xfrm>
          <a:custGeom>
            <a:avLst/>
            <a:gdLst>
              <a:gd name="connsiteX0" fmla="*/ 451731 w 2906160"/>
              <a:gd name="connsiteY0" fmla="*/ 0 h 2906160"/>
              <a:gd name="connsiteX1" fmla="*/ 2454429 w 2906160"/>
              <a:gd name="connsiteY1" fmla="*/ 0 h 2906160"/>
              <a:gd name="connsiteX2" fmla="*/ 2906160 w 2906160"/>
              <a:gd name="connsiteY2" fmla="*/ 451731 h 2906160"/>
              <a:gd name="connsiteX3" fmla="*/ 2906160 w 2906160"/>
              <a:gd name="connsiteY3" fmla="*/ 2454429 h 2906160"/>
              <a:gd name="connsiteX4" fmla="*/ 2454429 w 2906160"/>
              <a:gd name="connsiteY4" fmla="*/ 2906160 h 2906160"/>
              <a:gd name="connsiteX5" fmla="*/ 451731 w 2906160"/>
              <a:gd name="connsiteY5" fmla="*/ 2906160 h 2906160"/>
              <a:gd name="connsiteX6" fmla="*/ 0 w 2906160"/>
              <a:gd name="connsiteY6" fmla="*/ 2454429 h 2906160"/>
              <a:gd name="connsiteX7" fmla="*/ 0 w 2906160"/>
              <a:gd name="connsiteY7" fmla="*/ 451731 h 2906160"/>
              <a:gd name="connsiteX8" fmla="*/ 451731 w 2906160"/>
              <a:gd name="connsiteY8" fmla="*/ 0 h 2906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06160" h="2906160">
                <a:moveTo>
                  <a:pt x="451731" y="0"/>
                </a:moveTo>
                <a:lnTo>
                  <a:pt x="2454429" y="0"/>
                </a:lnTo>
                <a:cubicBezTo>
                  <a:pt x="2703963" y="0"/>
                  <a:pt x="2906160" y="202197"/>
                  <a:pt x="2906160" y="451731"/>
                </a:cubicBezTo>
                <a:lnTo>
                  <a:pt x="2906160" y="2454429"/>
                </a:lnTo>
                <a:cubicBezTo>
                  <a:pt x="2906160" y="2703963"/>
                  <a:pt x="2703963" y="2906160"/>
                  <a:pt x="2454429" y="2906160"/>
                </a:cubicBezTo>
                <a:lnTo>
                  <a:pt x="451731" y="2906160"/>
                </a:lnTo>
                <a:cubicBezTo>
                  <a:pt x="202196" y="2906160"/>
                  <a:pt x="0" y="2703963"/>
                  <a:pt x="0" y="2454429"/>
                </a:cubicBezTo>
                <a:lnTo>
                  <a:pt x="0" y="451731"/>
                </a:lnTo>
                <a:cubicBezTo>
                  <a:pt x="0" y="202197"/>
                  <a:pt x="202196" y="0"/>
                  <a:pt x="451731" y="0"/>
                </a:cubicBezTo>
                <a:close/>
              </a:path>
            </a:pathLst>
          </a:custGeom>
          <a:solidFill>
            <a:schemeClr val="bg1"/>
          </a:solidFill>
          <a:ln w="3381" cap="flat">
            <a:noFill/>
            <a:prstDash val="solid"/>
            <a:miter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endParaRPr lang="en-IN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" name="Textfeld 1">
            <a:extLst>
              <a:ext uri="{FF2B5EF4-FFF2-40B4-BE49-F238E27FC236}">
                <a16:creationId xmlns:a16="http://schemas.microsoft.com/office/drawing/2014/main" id="{9FDADFC9-24A3-079A-0FB1-39F510754065}"/>
              </a:ext>
            </a:extLst>
          </p:cNvPr>
          <p:cNvSpPr txBox="1"/>
          <p:nvPr/>
        </p:nvSpPr>
        <p:spPr>
          <a:xfrm>
            <a:off x="752436" y="3218582"/>
            <a:ext cx="2010599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1000"/>
              </a:spcBef>
            </a:pPr>
            <a:r>
              <a:rPr lang="en-US" sz="1600" b="1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tive Novel </a:t>
            </a:r>
            <a:br>
              <a:rPr lang="en-US" sz="1600" b="1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600" b="1" dirty="0" err="1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urosteroid</a:t>
            </a:r>
            <a:br>
              <a:rPr lang="en-US" sz="1600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600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EIDD-036 or </a:t>
            </a:r>
            <a:br>
              <a:rPr lang="en-US" sz="1600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600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TS-105) </a:t>
            </a:r>
          </a:p>
          <a:p>
            <a:pPr algn="ctr"/>
            <a:r>
              <a:rPr lang="en-US" sz="1600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igh potency</a:t>
            </a:r>
          </a:p>
        </p:txBody>
      </p:sp>
      <p:sp>
        <p:nvSpPr>
          <p:cNvPr id="40" name="Textfeld 1">
            <a:extLst>
              <a:ext uri="{FF2B5EF4-FFF2-40B4-BE49-F238E27FC236}">
                <a16:creationId xmlns:a16="http://schemas.microsoft.com/office/drawing/2014/main" id="{5EE37C14-8BEA-EE03-B45B-4CC9FA0D9F55}"/>
              </a:ext>
            </a:extLst>
          </p:cNvPr>
          <p:cNvSpPr txBox="1"/>
          <p:nvPr/>
        </p:nvSpPr>
        <p:spPr>
          <a:xfrm>
            <a:off x="3564308" y="3218582"/>
            <a:ext cx="2010599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1000"/>
              </a:spcBef>
            </a:pPr>
            <a:r>
              <a:rPr lang="en-US" sz="1600" b="1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vel Prodrug </a:t>
            </a:r>
            <a:r>
              <a:rPr lang="en-US" sz="1600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EIDD-1723 or NTS-104) with aqueous solubility </a:t>
            </a:r>
            <a:br>
              <a:rPr lang="en-US" sz="1600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1600" dirty="0">
              <a:solidFill>
                <a:srgbClr val="04143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" name="Textfeld 1">
            <a:extLst>
              <a:ext uri="{FF2B5EF4-FFF2-40B4-BE49-F238E27FC236}">
                <a16:creationId xmlns:a16="http://schemas.microsoft.com/office/drawing/2014/main" id="{85684856-1906-379B-255D-E8E2532FA546}"/>
              </a:ext>
            </a:extLst>
          </p:cNvPr>
          <p:cNvSpPr txBox="1"/>
          <p:nvPr/>
        </p:nvSpPr>
        <p:spPr>
          <a:xfrm>
            <a:off x="6376179" y="3218582"/>
            <a:ext cx="2010599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1000"/>
              </a:spcBef>
            </a:pPr>
            <a:r>
              <a:rPr lang="de-DE" sz="1600" b="1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mportant Leads </a:t>
            </a:r>
            <a:r>
              <a:rPr lang="de-DE" sz="1600" dirty="0" err="1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re</a:t>
            </a:r>
            <a:r>
              <a:rPr lang="de-DE" sz="1600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600" dirty="0" err="1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w</a:t>
            </a:r>
            <a:r>
              <a:rPr lang="de-DE" sz="1600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n </a:t>
            </a:r>
            <a:r>
              <a:rPr lang="de-DE" sz="1600" dirty="0" err="1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velopment</a:t>
            </a:r>
            <a:r>
              <a:rPr lang="de-DE" sz="1600" dirty="0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t NTS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91D73408-837E-DD0A-1DEA-807162A1D1D5}"/>
              </a:ext>
            </a:extLst>
          </p:cNvPr>
          <p:cNvCxnSpPr>
            <a:cxnSpLocks/>
          </p:cNvCxnSpPr>
          <p:nvPr/>
        </p:nvCxnSpPr>
        <p:spPr>
          <a:xfrm>
            <a:off x="1632884" y="3031201"/>
            <a:ext cx="249704" cy="0"/>
          </a:xfrm>
          <a:prstGeom prst="line">
            <a:avLst/>
          </a:prstGeom>
          <a:ln w="571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2812E04-C9C3-786F-F73C-A9645E8D1FD4}"/>
              </a:ext>
            </a:extLst>
          </p:cNvPr>
          <p:cNvCxnSpPr>
            <a:cxnSpLocks/>
          </p:cNvCxnSpPr>
          <p:nvPr/>
        </p:nvCxnSpPr>
        <p:spPr>
          <a:xfrm>
            <a:off x="4444755" y="3031201"/>
            <a:ext cx="249704" cy="0"/>
          </a:xfrm>
          <a:prstGeom prst="line">
            <a:avLst/>
          </a:prstGeom>
          <a:ln w="57150">
            <a:solidFill>
              <a:srgbClr val="4285F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290E0988-8FC4-38EA-3824-B6E74061D1BD}"/>
              </a:ext>
            </a:extLst>
          </p:cNvPr>
          <p:cNvCxnSpPr>
            <a:cxnSpLocks/>
          </p:cNvCxnSpPr>
          <p:nvPr/>
        </p:nvCxnSpPr>
        <p:spPr>
          <a:xfrm>
            <a:off x="7256626" y="3031201"/>
            <a:ext cx="249704" cy="0"/>
          </a:xfrm>
          <a:prstGeom prst="line">
            <a:avLst/>
          </a:prstGeom>
          <a:ln w="571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Graphic 47">
            <a:extLst>
              <a:ext uri="{FF2B5EF4-FFF2-40B4-BE49-F238E27FC236}">
                <a16:creationId xmlns:a16="http://schemas.microsoft.com/office/drawing/2014/main" id="{9BB237E9-1D9E-7DCD-40D2-7C03C51547F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417412" y="2317109"/>
            <a:ext cx="680646" cy="500400"/>
          </a:xfrm>
          <a:prstGeom prst="rect">
            <a:avLst/>
          </a:prstGeom>
        </p:spPr>
      </p:pic>
      <p:pic>
        <p:nvPicPr>
          <p:cNvPr id="49" name="Graphic 48">
            <a:extLst>
              <a:ext uri="{FF2B5EF4-FFF2-40B4-BE49-F238E27FC236}">
                <a16:creationId xmlns:a16="http://schemas.microsoft.com/office/drawing/2014/main" id="{3891E0B4-EF45-2914-1EFC-56D55EE2FE1C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347828" y="2316426"/>
            <a:ext cx="443558" cy="500400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3AF4249D-8718-C59F-A18D-09A35858AA5E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063043" y="2316426"/>
            <a:ext cx="636871" cy="5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83298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EC68E52-C486-28F2-14F2-BA990276E6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EC68E52-C486-28F2-14F2-BA990276E6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103C0B3-BB71-21EF-B40E-F560366CC3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607" y="17968"/>
            <a:ext cx="8604931" cy="738664"/>
          </a:xfrm>
        </p:spPr>
        <p:txBody>
          <a:bodyPr vert="horz"/>
          <a:lstStyle/>
          <a:p>
            <a:r>
              <a:rPr lang="en-US" dirty="0"/>
              <a:t>Two Novel Chemical Entities With Prodrug – Neuroactive Drug Relationship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FD80603-9424-CAF2-1B98-60188638F523}"/>
              </a:ext>
            </a:extLst>
          </p:cNvPr>
          <p:cNvSpPr txBox="1"/>
          <p:nvPr/>
        </p:nvSpPr>
        <p:spPr>
          <a:xfrm>
            <a:off x="267607" y="4644649"/>
            <a:ext cx="7072086" cy="10772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7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ource: NTS internal data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DDB0AAF4-7D50-FDC2-B9CC-66A429669247}"/>
              </a:ext>
            </a:extLst>
          </p:cNvPr>
          <p:cNvSpPr/>
          <p:nvPr/>
        </p:nvSpPr>
        <p:spPr>
          <a:xfrm>
            <a:off x="267607" y="1390078"/>
            <a:ext cx="4324387" cy="3036005"/>
          </a:xfrm>
          <a:custGeom>
            <a:avLst/>
            <a:gdLst>
              <a:gd name="connsiteX0" fmla="*/ 4072285 w 4087419"/>
              <a:gd name="connsiteY0" fmla="*/ 15135 h 2869638"/>
              <a:gd name="connsiteX1" fmla="*/ 4035960 w 4087419"/>
              <a:gd name="connsiteY1" fmla="*/ 0 h 2869638"/>
              <a:gd name="connsiteX2" fmla="*/ 51460 w 4087419"/>
              <a:gd name="connsiteY2" fmla="*/ 0 h 2869638"/>
              <a:gd name="connsiteX3" fmla="*/ 0 w 4087419"/>
              <a:gd name="connsiteY3" fmla="*/ 51460 h 2869638"/>
              <a:gd name="connsiteX4" fmla="*/ 0 w 4087419"/>
              <a:gd name="connsiteY4" fmla="*/ 2675000 h 2869638"/>
              <a:gd name="connsiteX5" fmla="*/ 51460 w 4087419"/>
              <a:gd name="connsiteY5" fmla="*/ 2726460 h 2869638"/>
              <a:gd name="connsiteX6" fmla="*/ 3625493 w 4087419"/>
              <a:gd name="connsiteY6" fmla="*/ 2726460 h 2869638"/>
              <a:gd name="connsiteX7" fmla="*/ 3782899 w 4087419"/>
              <a:gd name="connsiteY7" fmla="*/ 2869639 h 2869638"/>
              <a:gd name="connsiteX8" fmla="*/ 3941214 w 4087419"/>
              <a:gd name="connsiteY8" fmla="*/ 2711325 h 2869638"/>
              <a:gd name="connsiteX9" fmla="*/ 3782899 w 4087419"/>
              <a:gd name="connsiteY9" fmla="*/ 2553010 h 2869638"/>
              <a:gd name="connsiteX10" fmla="*/ 3625493 w 4087419"/>
              <a:gd name="connsiteY10" fmla="*/ 2696189 h 2869638"/>
              <a:gd name="connsiteX11" fmla="*/ 51460 w 4087419"/>
              <a:gd name="connsiteY11" fmla="*/ 2696189 h 2869638"/>
              <a:gd name="connsiteX12" fmla="*/ 30270 w 4087419"/>
              <a:gd name="connsiteY12" fmla="*/ 2675000 h 2869638"/>
              <a:gd name="connsiteX13" fmla="*/ 30270 w 4087419"/>
              <a:gd name="connsiteY13" fmla="*/ 51460 h 2869638"/>
              <a:gd name="connsiteX14" fmla="*/ 51460 w 4087419"/>
              <a:gd name="connsiteY14" fmla="*/ 30270 h 2869638"/>
              <a:gd name="connsiteX15" fmla="*/ 4035960 w 4087419"/>
              <a:gd name="connsiteY15" fmla="*/ 30270 h 2869638"/>
              <a:gd name="connsiteX16" fmla="*/ 4057150 w 4087419"/>
              <a:gd name="connsiteY16" fmla="*/ 51460 h 2869638"/>
              <a:gd name="connsiteX17" fmla="*/ 4057150 w 4087419"/>
              <a:gd name="connsiteY17" fmla="*/ 787334 h 2869638"/>
              <a:gd name="connsiteX18" fmla="*/ 4087420 w 4087419"/>
              <a:gd name="connsiteY18" fmla="*/ 787334 h 2869638"/>
              <a:gd name="connsiteX19" fmla="*/ 4087420 w 4087419"/>
              <a:gd name="connsiteY19" fmla="*/ 51460 h 2869638"/>
              <a:gd name="connsiteX20" fmla="*/ 4072285 w 4087419"/>
              <a:gd name="connsiteY20" fmla="*/ 15135 h 2869638"/>
              <a:gd name="connsiteX21" fmla="*/ 3782899 w 4087419"/>
              <a:gd name="connsiteY21" fmla="*/ 2574199 h 2869638"/>
              <a:gd name="connsiteX22" fmla="*/ 3920024 w 4087419"/>
              <a:gd name="connsiteY22" fmla="*/ 2711325 h 2869638"/>
              <a:gd name="connsiteX23" fmla="*/ 3782899 w 4087419"/>
              <a:gd name="connsiteY23" fmla="*/ 2848450 h 2869638"/>
              <a:gd name="connsiteX24" fmla="*/ 3646077 w 4087419"/>
              <a:gd name="connsiteY24" fmla="*/ 2714957 h 2869638"/>
              <a:gd name="connsiteX25" fmla="*/ 3646077 w 4087419"/>
              <a:gd name="connsiteY25" fmla="*/ 2708297 h 2869638"/>
              <a:gd name="connsiteX26" fmla="*/ 3782899 w 4087419"/>
              <a:gd name="connsiteY26" fmla="*/ 2574199 h 2869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087419" h="2869638">
                <a:moveTo>
                  <a:pt x="4072285" y="15135"/>
                </a:moveTo>
                <a:cubicBezTo>
                  <a:pt x="4062901" y="5751"/>
                  <a:pt x="4050187" y="0"/>
                  <a:pt x="4035960" y="0"/>
                </a:cubicBezTo>
                <a:lnTo>
                  <a:pt x="51460" y="0"/>
                </a:lnTo>
                <a:cubicBezTo>
                  <a:pt x="23006" y="0"/>
                  <a:pt x="0" y="23006"/>
                  <a:pt x="0" y="51460"/>
                </a:cubicBezTo>
                <a:lnTo>
                  <a:pt x="0" y="2675000"/>
                </a:lnTo>
                <a:cubicBezTo>
                  <a:pt x="0" y="2703454"/>
                  <a:pt x="23006" y="2726460"/>
                  <a:pt x="51460" y="2726460"/>
                </a:cubicBezTo>
                <a:lnTo>
                  <a:pt x="3625493" y="2726460"/>
                </a:lnTo>
                <a:cubicBezTo>
                  <a:pt x="3633060" y="2806676"/>
                  <a:pt x="3700866" y="2869639"/>
                  <a:pt x="3782899" y="2869639"/>
                </a:cubicBezTo>
                <a:cubicBezTo>
                  <a:pt x="3870078" y="2869639"/>
                  <a:pt x="3941214" y="2798503"/>
                  <a:pt x="3941214" y="2711325"/>
                </a:cubicBezTo>
                <a:cubicBezTo>
                  <a:pt x="3941214" y="2624146"/>
                  <a:pt x="3870078" y="2553010"/>
                  <a:pt x="3782899" y="2553010"/>
                </a:cubicBezTo>
                <a:cubicBezTo>
                  <a:pt x="3700866" y="2553010"/>
                  <a:pt x="3633060" y="2615973"/>
                  <a:pt x="3625493" y="2696189"/>
                </a:cubicBezTo>
                <a:lnTo>
                  <a:pt x="51460" y="2696189"/>
                </a:lnTo>
                <a:cubicBezTo>
                  <a:pt x="39654" y="2696189"/>
                  <a:pt x="30270" y="2686806"/>
                  <a:pt x="30270" y="2675000"/>
                </a:cubicBezTo>
                <a:lnTo>
                  <a:pt x="30270" y="51460"/>
                </a:lnTo>
                <a:cubicBezTo>
                  <a:pt x="30270" y="39654"/>
                  <a:pt x="39654" y="30270"/>
                  <a:pt x="51460" y="30270"/>
                </a:cubicBezTo>
                <a:lnTo>
                  <a:pt x="4035960" y="30270"/>
                </a:lnTo>
                <a:cubicBezTo>
                  <a:pt x="4047765" y="30270"/>
                  <a:pt x="4057150" y="39654"/>
                  <a:pt x="4057150" y="51460"/>
                </a:cubicBezTo>
                <a:lnTo>
                  <a:pt x="4057150" y="787334"/>
                </a:lnTo>
                <a:lnTo>
                  <a:pt x="4087420" y="787334"/>
                </a:lnTo>
                <a:lnTo>
                  <a:pt x="4087420" y="51460"/>
                </a:lnTo>
                <a:cubicBezTo>
                  <a:pt x="4087420" y="37233"/>
                  <a:pt x="4081669" y="24216"/>
                  <a:pt x="4072285" y="15135"/>
                </a:cubicBezTo>
                <a:close/>
                <a:moveTo>
                  <a:pt x="3782899" y="2574199"/>
                </a:moveTo>
                <a:cubicBezTo>
                  <a:pt x="3858575" y="2574199"/>
                  <a:pt x="3920024" y="2635648"/>
                  <a:pt x="3920024" y="2711325"/>
                </a:cubicBezTo>
                <a:cubicBezTo>
                  <a:pt x="3920024" y="2787001"/>
                  <a:pt x="3858575" y="2848450"/>
                  <a:pt x="3782899" y="2848450"/>
                </a:cubicBezTo>
                <a:cubicBezTo>
                  <a:pt x="3708434" y="2848450"/>
                  <a:pt x="3647893" y="2788817"/>
                  <a:pt x="3646077" y="2714957"/>
                </a:cubicBezTo>
                <a:lnTo>
                  <a:pt x="3646077" y="2708297"/>
                </a:lnTo>
                <a:cubicBezTo>
                  <a:pt x="3647893" y="2633832"/>
                  <a:pt x="3708434" y="2574199"/>
                  <a:pt x="3782899" y="2574199"/>
                </a:cubicBezTo>
                <a:close/>
              </a:path>
            </a:pathLst>
          </a:custGeom>
          <a:solidFill>
            <a:srgbClr val="04143F"/>
          </a:solidFill>
          <a:ln w="3026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3251781-9169-A64B-E467-D91293B59228}"/>
              </a:ext>
            </a:extLst>
          </p:cNvPr>
          <p:cNvSpPr/>
          <p:nvPr/>
        </p:nvSpPr>
        <p:spPr>
          <a:xfrm>
            <a:off x="4165736" y="4154508"/>
            <a:ext cx="208164" cy="208164"/>
          </a:xfrm>
          <a:custGeom>
            <a:avLst/>
            <a:gdLst>
              <a:gd name="connsiteX0" fmla="*/ 98379 w 196757"/>
              <a:gd name="connsiteY0" fmla="*/ 196758 h 196757"/>
              <a:gd name="connsiteX1" fmla="*/ 196758 w 196757"/>
              <a:gd name="connsiteY1" fmla="*/ 98379 h 196757"/>
              <a:gd name="connsiteX2" fmla="*/ 98379 w 196757"/>
              <a:gd name="connsiteY2" fmla="*/ 0 h 196757"/>
              <a:gd name="connsiteX3" fmla="*/ 0 w 196757"/>
              <a:gd name="connsiteY3" fmla="*/ 98379 h 196757"/>
              <a:gd name="connsiteX4" fmla="*/ 98379 w 196757"/>
              <a:gd name="connsiteY4" fmla="*/ 196758 h 196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6757" h="196757">
                <a:moveTo>
                  <a:pt x="98379" y="196758"/>
                </a:moveTo>
                <a:cubicBezTo>
                  <a:pt x="152866" y="196758"/>
                  <a:pt x="196758" y="152563"/>
                  <a:pt x="196758" y="98379"/>
                </a:cubicBezTo>
                <a:cubicBezTo>
                  <a:pt x="196758" y="43892"/>
                  <a:pt x="152563" y="0"/>
                  <a:pt x="98379" y="0"/>
                </a:cubicBezTo>
                <a:cubicBezTo>
                  <a:pt x="43892" y="0"/>
                  <a:pt x="0" y="44195"/>
                  <a:pt x="0" y="98379"/>
                </a:cubicBezTo>
                <a:cubicBezTo>
                  <a:pt x="0" y="152563"/>
                  <a:pt x="44195" y="196758"/>
                  <a:pt x="98379" y="196758"/>
                </a:cubicBezTo>
                <a:close/>
              </a:path>
            </a:pathLst>
          </a:custGeom>
          <a:solidFill>
            <a:srgbClr val="04143F"/>
          </a:solidFill>
          <a:ln w="3026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B7EE6EBB-D509-D86D-2472-AEBA9DC186C3}"/>
              </a:ext>
            </a:extLst>
          </p:cNvPr>
          <p:cNvSpPr/>
          <p:nvPr/>
        </p:nvSpPr>
        <p:spPr>
          <a:xfrm>
            <a:off x="4559970" y="1238598"/>
            <a:ext cx="4324387" cy="3036005"/>
          </a:xfrm>
          <a:custGeom>
            <a:avLst/>
            <a:gdLst>
              <a:gd name="connsiteX0" fmla="*/ 4035960 w 4087419"/>
              <a:gd name="connsiteY0" fmla="*/ 143179 h 2869638"/>
              <a:gd name="connsiteX1" fmla="*/ 461927 w 4087419"/>
              <a:gd name="connsiteY1" fmla="*/ 143179 h 2869638"/>
              <a:gd name="connsiteX2" fmla="*/ 304521 w 4087419"/>
              <a:gd name="connsiteY2" fmla="*/ 0 h 2869638"/>
              <a:gd name="connsiteX3" fmla="*/ 146206 w 4087419"/>
              <a:gd name="connsiteY3" fmla="*/ 158314 h 2869638"/>
              <a:gd name="connsiteX4" fmla="*/ 304521 w 4087419"/>
              <a:gd name="connsiteY4" fmla="*/ 316629 h 2869638"/>
              <a:gd name="connsiteX5" fmla="*/ 461927 w 4087419"/>
              <a:gd name="connsiteY5" fmla="*/ 173450 h 2869638"/>
              <a:gd name="connsiteX6" fmla="*/ 4035960 w 4087419"/>
              <a:gd name="connsiteY6" fmla="*/ 173450 h 2869638"/>
              <a:gd name="connsiteX7" fmla="*/ 4057150 w 4087419"/>
              <a:gd name="connsiteY7" fmla="*/ 194639 h 2869638"/>
              <a:gd name="connsiteX8" fmla="*/ 4057150 w 4087419"/>
              <a:gd name="connsiteY8" fmla="*/ 2818179 h 2869638"/>
              <a:gd name="connsiteX9" fmla="*/ 4035960 w 4087419"/>
              <a:gd name="connsiteY9" fmla="*/ 2839369 h 2869638"/>
              <a:gd name="connsiteX10" fmla="*/ 51460 w 4087419"/>
              <a:gd name="connsiteY10" fmla="*/ 2839369 h 2869638"/>
              <a:gd name="connsiteX11" fmla="*/ 30270 w 4087419"/>
              <a:gd name="connsiteY11" fmla="*/ 2818179 h 2869638"/>
              <a:gd name="connsiteX12" fmla="*/ 30270 w 4087419"/>
              <a:gd name="connsiteY12" fmla="*/ 2082305 h 2869638"/>
              <a:gd name="connsiteX13" fmla="*/ 0 w 4087419"/>
              <a:gd name="connsiteY13" fmla="*/ 2082305 h 2869638"/>
              <a:gd name="connsiteX14" fmla="*/ 0 w 4087419"/>
              <a:gd name="connsiteY14" fmla="*/ 2818179 h 2869638"/>
              <a:gd name="connsiteX15" fmla="*/ 15135 w 4087419"/>
              <a:gd name="connsiteY15" fmla="*/ 2854504 h 2869638"/>
              <a:gd name="connsiteX16" fmla="*/ 51460 w 4087419"/>
              <a:gd name="connsiteY16" fmla="*/ 2869639 h 2869638"/>
              <a:gd name="connsiteX17" fmla="*/ 4035960 w 4087419"/>
              <a:gd name="connsiteY17" fmla="*/ 2869639 h 2869638"/>
              <a:gd name="connsiteX18" fmla="*/ 4087420 w 4087419"/>
              <a:gd name="connsiteY18" fmla="*/ 2818179 h 2869638"/>
              <a:gd name="connsiteX19" fmla="*/ 4087420 w 4087419"/>
              <a:gd name="connsiteY19" fmla="*/ 194639 h 2869638"/>
              <a:gd name="connsiteX20" fmla="*/ 4035960 w 4087419"/>
              <a:gd name="connsiteY20" fmla="*/ 143179 h 2869638"/>
              <a:gd name="connsiteX21" fmla="*/ 304521 w 4087419"/>
              <a:gd name="connsiteY21" fmla="*/ 295137 h 2869638"/>
              <a:gd name="connsiteX22" fmla="*/ 167395 w 4087419"/>
              <a:gd name="connsiteY22" fmla="*/ 158012 h 2869638"/>
              <a:gd name="connsiteX23" fmla="*/ 304521 w 4087419"/>
              <a:gd name="connsiteY23" fmla="*/ 21189 h 2869638"/>
              <a:gd name="connsiteX24" fmla="*/ 441343 w 4087419"/>
              <a:gd name="connsiteY24" fmla="*/ 152563 h 2869638"/>
              <a:gd name="connsiteX25" fmla="*/ 441343 w 4087419"/>
              <a:gd name="connsiteY25" fmla="*/ 163460 h 2869638"/>
              <a:gd name="connsiteX26" fmla="*/ 304521 w 4087419"/>
              <a:gd name="connsiteY26" fmla="*/ 295137 h 2869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087419" h="2869638">
                <a:moveTo>
                  <a:pt x="4035960" y="143179"/>
                </a:moveTo>
                <a:lnTo>
                  <a:pt x="461927" y="143179"/>
                </a:lnTo>
                <a:cubicBezTo>
                  <a:pt x="454360" y="62963"/>
                  <a:pt x="386554" y="0"/>
                  <a:pt x="304521" y="0"/>
                </a:cubicBezTo>
                <a:cubicBezTo>
                  <a:pt x="217342" y="0"/>
                  <a:pt x="146206" y="71136"/>
                  <a:pt x="146206" y="158314"/>
                </a:cubicBezTo>
                <a:cubicBezTo>
                  <a:pt x="146206" y="245493"/>
                  <a:pt x="217039" y="316629"/>
                  <a:pt x="304521" y="316629"/>
                </a:cubicBezTo>
                <a:cubicBezTo>
                  <a:pt x="386554" y="316629"/>
                  <a:pt x="454360" y="253666"/>
                  <a:pt x="461927" y="173450"/>
                </a:cubicBezTo>
                <a:lnTo>
                  <a:pt x="4035960" y="173450"/>
                </a:lnTo>
                <a:cubicBezTo>
                  <a:pt x="4047765" y="173450"/>
                  <a:pt x="4057150" y="182834"/>
                  <a:pt x="4057150" y="194639"/>
                </a:cubicBezTo>
                <a:lnTo>
                  <a:pt x="4057150" y="2818179"/>
                </a:lnTo>
                <a:cubicBezTo>
                  <a:pt x="4057150" y="2829985"/>
                  <a:pt x="4047765" y="2839369"/>
                  <a:pt x="4035960" y="2839369"/>
                </a:cubicBezTo>
                <a:lnTo>
                  <a:pt x="51460" y="2839369"/>
                </a:lnTo>
                <a:cubicBezTo>
                  <a:pt x="39654" y="2839369"/>
                  <a:pt x="30270" y="2829985"/>
                  <a:pt x="30270" y="2818179"/>
                </a:cubicBezTo>
                <a:lnTo>
                  <a:pt x="30270" y="2082305"/>
                </a:lnTo>
                <a:lnTo>
                  <a:pt x="0" y="2082305"/>
                </a:lnTo>
                <a:lnTo>
                  <a:pt x="0" y="2818179"/>
                </a:lnTo>
                <a:cubicBezTo>
                  <a:pt x="0" y="2832406"/>
                  <a:pt x="5751" y="2845423"/>
                  <a:pt x="15135" y="2854504"/>
                </a:cubicBezTo>
                <a:cubicBezTo>
                  <a:pt x="24519" y="2863888"/>
                  <a:pt x="37232" y="2869639"/>
                  <a:pt x="51460" y="2869639"/>
                </a:cubicBezTo>
                <a:lnTo>
                  <a:pt x="4035960" y="2869639"/>
                </a:lnTo>
                <a:cubicBezTo>
                  <a:pt x="4064414" y="2869639"/>
                  <a:pt x="4087420" y="2846634"/>
                  <a:pt x="4087420" y="2818179"/>
                </a:cubicBezTo>
                <a:lnTo>
                  <a:pt x="4087420" y="194639"/>
                </a:lnTo>
                <a:cubicBezTo>
                  <a:pt x="4087420" y="166185"/>
                  <a:pt x="4064111" y="143179"/>
                  <a:pt x="4035960" y="143179"/>
                </a:cubicBezTo>
                <a:close/>
                <a:moveTo>
                  <a:pt x="304521" y="295137"/>
                </a:moveTo>
                <a:cubicBezTo>
                  <a:pt x="228845" y="295137"/>
                  <a:pt x="167395" y="233688"/>
                  <a:pt x="167395" y="158012"/>
                </a:cubicBezTo>
                <a:cubicBezTo>
                  <a:pt x="167395" y="82336"/>
                  <a:pt x="228845" y="21189"/>
                  <a:pt x="304521" y="21189"/>
                </a:cubicBezTo>
                <a:cubicBezTo>
                  <a:pt x="378078" y="21189"/>
                  <a:pt x="438619" y="79611"/>
                  <a:pt x="441343" y="152563"/>
                </a:cubicBezTo>
                <a:lnTo>
                  <a:pt x="441343" y="163460"/>
                </a:lnTo>
                <a:cubicBezTo>
                  <a:pt x="438316" y="236715"/>
                  <a:pt x="378078" y="295137"/>
                  <a:pt x="304521" y="295137"/>
                </a:cubicBezTo>
                <a:close/>
              </a:path>
            </a:pathLst>
          </a:custGeom>
          <a:solidFill>
            <a:srgbClr val="4285F4"/>
          </a:solidFill>
          <a:ln w="3026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7CD4976B-BD7A-03DE-BC2A-1F65F46F0ACF}"/>
              </a:ext>
            </a:extLst>
          </p:cNvPr>
          <p:cNvSpPr/>
          <p:nvPr/>
        </p:nvSpPr>
        <p:spPr>
          <a:xfrm rot="17550026">
            <a:off x="4778166" y="1301806"/>
            <a:ext cx="208169" cy="208169"/>
          </a:xfrm>
          <a:custGeom>
            <a:avLst/>
            <a:gdLst>
              <a:gd name="connsiteX0" fmla="*/ 196763 w 196762"/>
              <a:gd name="connsiteY0" fmla="*/ 98381 h 196762"/>
              <a:gd name="connsiteX1" fmla="*/ 98382 w 196762"/>
              <a:gd name="connsiteY1" fmla="*/ 196763 h 196762"/>
              <a:gd name="connsiteX2" fmla="*/ 0 w 196762"/>
              <a:gd name="connsiteY2" fmla="*/ 98381 h 196762"/>
              <a:gd name="connsiteX3" fmla="*/ 98382 w 196762"/>
              <a:gd name="connsiteY3" fmla="*/ 0 h 196762"/>
              <a:gd name="connsiteX4" fmla="*/ 196763 w 196762"/>
              <a:gd name="connsiteY4" fmla="*/ 98381 h 196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6762" h="196762">
                <a:moveTo>
                  <a:pt x="196763" y="98381"/>
                </a:moveTo>
                <a:cubicBezTo>
                  <a:pt x="196763" y="152716"/>
                  <a:pt x="152716" y="196763"/>
                  <a:pt x="98382" y="196763"/>
                </a:cubicBezTo>
                <a:cubicBezTo>
                  <a:pt x="44047" y="196763"/>
                  <a:pt x="0" y="152716"/>
                  <a:pt x="0" y="98381"/>
                </a:cubicBezTo>
                <a:cubicBezTo>
                  <a:pt x="0" y="44047"/>
                  <a:pt x="44047" y="0"/>
                  <a:pt x="98382" y="0"/>
                </a:cubicBezTo>
                <a:cubicBezTo>
                  <a:pt x="152716" y="0"/>
                  <a:pt x="196763" y="44047"/>
                  <a:pt x="196763" y="98381"/>
                </a:cubicBezTo>
                <a:close/>
              </a:path>
            </a:pathLst>
          </a:custGeom>
          <a:solidFill>
            <a:srgbClr val="4285F4"/>
          </a:solidFill>
          <a:ln w="3026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C6FD48C-0309-B4EA-BB66-FB55E541510C}"/>
              </a:ext>
            </a:extLst>
          </p:cNvPr>
          <p:cNvSpPr txBox="1"/>
          <p:nvPr/>
        </p:nvSpPr>
        <p:spPr>
          <a:xfrm>
            <a:off x="390696" y="1190575"/>
            <a:ext cx="3948508" cy="450475"/>
          </a:xfrm>
          <a:prstGeom prst="rect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1500" b="1">
                <a:solidFill>
                  <a:schemeClr val="l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>
              <a:defRPr/>
            </a:pPr>
            <a:r>
              <a:rPr lang="en-US" dirty="0">
                <a:solidFill>
                  <a:srgbClr val="FFFFFF"/>
                </a:solidFill>
              </a:rPr>
              <a:t>Prodrug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F06EBDF-9B5F-9BD9-C335-00187E07DB09}"/>
              </a:ext>
            </a:extLst>
          </p:cNvPr>
          <p:cNvSpPr txBox="1"/>
          <p:nvPr/>
        </p:nvSpPr>
        <p:spPr>
          <a:xfrm>
            <a:off x="4778064" y="4021203"/>
            <a:ext cx="3948508" cy="450475"/>
          </a:xfrm>
          <a:prstGeom prst="rect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1500" b="1">
                <a:solidFill>
                  <a:schemeClr val="l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>
              <a:defRPr/>
            </a:pPr>
            <a:r>
              <a:rPr lang="en-US" dirty="0">
                <a:solidFill>
                  <a:srgbClr val="FFFFFF"/>
                </a:solidFill>
              </a:rPr>
              <a:t>Neuroactive Drug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67D273F-A037-925B-7111-EAF199EB3EBB}"/>
              </a:ext>
            </a:extLst>
          </p:cNvPr>
          <p:cNvCxnSpPr>
            <a:cxnSpLocks/>
            <a:stCxn id="35" idx="6"/>
            <a:endCxn id="30" idx="2"/>
          </p:cNvCxnSpPr>
          <p:nvPr/>
        </p:nvCxnSpPr>
        <p:spPr>
          <a:xfrm flipV="1">
            <a:off x="567177" y="1953393"/>
            <a:ext cx="0" cy="66241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29">
            <a:extLst>
              <a:ext uri="{FF2B5EF4-FFF2-40B4-BE49-F238E27FC236}">
                <a16:creationId xmlns:a16="http://schemas.microsoft.com/office/drawing/2014/main" id="{1AEC94C2-9C3B-E940-45EF-1A0F15B61E55}"/>
              </a:ext>
            </a:extLst>
          </p:cNvPr>
          <p:cNvSpPr>
            <a:spLocks noChangeAspect="1"/>
          </p:cNvSpPr>
          <p:nvPr/>
        </p:nvSpPr>
        <p:spPr>
          <a:xfrm rot="16200000">
            <a:off x="487017" y="1793073"/>
            <a:ext cx="160319" cy="160321"/>
          </a:xfrm>
          <a:prstGeom prst="ellipse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28575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t"/>
          <a:lstStyle/>
          <a:p>
            <a:endParaRPr lang="en-US" sz="1500" b="1">
              <a:solidFill>
                <a:srgbClr val="04143F"/>
              </a:solidFill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74CA499-6337-6653-0F06-B00AE25356EA}"/>
              </a:ext>
            </a:extLst>
          </p:cNvPr>
          <p:cNvSpPr/>
          <p:nvPr/>
        </p:nvSpPr>
        <p:spPr>
          <a:xfrm>
            <a:off x="786884" y="1750123"/>
            <a:ext cx="3456000" cy="2308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500" i="0" u="none" strike="noStrike" kern="120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gh aqueous solubility and stability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8C1B7840-A5E1-70F5-8A16-0FDE6229B4A6}"/>
              </a:ext>
            </a:extLst>
          </p:cNvPr>
          <p:cNvSpPr>
            <a:spLocks noChangeAspect="1"/>
          </p:cNvSpPr>
          <p:nvPr/>
        </p:nvSpPr>
        <p:spPr>
          <a:xfrm rot="16200000">
            <a:off x="487017" y="2204438"/>
            <a:ext cx="160319" cy="160321"/>
          </a:xfrm>
          <a:prstGeom prst="ellipse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28575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t"/>
          <a:lstStyle/>
          <a:p>
            <a:endParaRPr lang="en-US" sz="1500" b="1">
              <a:solidFill>
                <a:srgbClr val="04143F"/>
              </a:solidFill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9AE82DE-266F-2B88-F772-4FA8FE02790C}"/>
              </a:ext>
            </a:extLst>
          </p:cNvPr>
          <p:cNvSpPr/>
          <p:nvPr/>
        </p:nvSpPr>
        <p:spPr>
          <a:xfrm>
            <a:off x="786884" y="2161488"/>
            <a:ext cx="3456000" cy="2308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500" i="0" u="none" strike="noStrike" kern="120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verts rapidly to NTS-105 in plasma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3C85DAE-1D91-9CCD-49B2-3515CAEF401D}"/>
              </a:ext>
            </a:extLst>
          </p:cNvPr>
          <p:cNvSpPr/>
          <p:nvPr/>
        </p:nvSpPr>
        <p:spPr>
          <a:xfrm>
            <a:off x="786884" y="2572852"/>
            <a:ext cx="3456000" cy="2308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500" i="0" u="none" strike="noStrike" kern="120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itable for IV dosing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B5D4C719-6880-A3AE-7479-B9F12A3AF019}"/>
              </a:ext>
            </a:extLst>
          </p:cNvPr>
          <p:cNvSpPr>
            <a:spLocks noChangeAspect="1"/>
          </p:cNvSpPr>
          <p:nvPr/>
        </p:nvSpPr>
        <p:spPr>
          <a:xfrm rot="16200000">
            <a:off x="487017" y="2615802"/>
            <a:ext cx="160319" cy="160321"/>
          </a:xfrm>
          <a:prstGeom prst="ellipse">
            <a:avLst/>
          </a:prstGeom>
          <a:gradFill flip="none" rotWithShape="1">
            <a:gsLst>
              <a:gs pos="49400">
                <a:srgbClr val="316399"/>
              </a:gs>
              <a:gs pos="0">
                <a:schemeClr val="accent1">
                  <a:lumMod val="60000"/>
                  <a:lumOff val="40000"/>
                </a:schemeClr>
              </a:gs>
              <a:gs pos="100000">
                <a:srgbClr val="04143F"/>
              </a:gs>
            </a:gsLst>
            <a:path path="circle">
              <a:fillToRect l="100000" b="100000"/>
            </a:path>
            <a:tileRect t="-100000" r="-100000"/>
          </a:gradFill>
          <a:ln w="28575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t"/>
          <a:lstStyle/>
          <a:p>
            <a:endParaRPr lang="en-US" sz="1500" b="1">
              <a:solidFill>
                <a:srgbClr val="04143F"/>
              </a:solidFill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68C3176F-900E-B3C8-3E3B-360925CBD525}"/>
              </a:ext>
            </a:extLst>
          </p:cNvPr>
          <p:cNvGrpSpPr/>
          <p:nvPr/>
        </p:nvGrpSpPr>
        <p:grpSpPr>
          <a:xfrm>
            <a:off x="1205818" y="3029247"/>
            <a:ext cx="2090231" cy="981134"/>
            <a:chOff x="1906819" y="3374474"/>
            <a:chExt cx="1862197" cy="874097"/>
          </a:xfrm>
        </p:grpSpPr>
        <p:graphicFrame>
          <p:nvGraphicFramePr>
            <p:cNvPr id="39" name="Object 38">
              <a:extLst>
                <a:ext uri="{FF2B5EF4-FFF2-40B4-BE49-F238E27FC236}">
                  <a16:creationId xmlns:a16="http://schemas.microsoft.com/office/drawing/2014/main" id="{74471DE5-898C-BF1B-89CD-E0359D9C8DFF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1906819" y="3387165"/>
            <a:ext cx="1710263" cy="861406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r:id="rId5" imgW="2593340" imgH="1308523" progId="ChemDraw.Document.6.0">
                    <p:embed/>
                  </p:oleObj>
                </mc:Choice>
                <mc:Fallback>
                  <p:oleObj r:id="rId5" imgW="2593340" imgH="1308523" progId="ChemDraw.Document.6.0">
                    <p:embed/>
                    <p:pic>
                      <p:nvPicPr>
                        <p:cNvPr id="39" name="Object 38">
                          <a:extLst>
                            <a:ext uri="{FF2B5EF4-FFF2-40B4-BE49-F238E27FC236}">
                              <a16:creationId xmlns:a16="http://schemas.microsoft.com/office/drawing/2014/main" id="{74471DE5-898C-BF1B-89CD-E0359D9C8DFF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6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906819" y="3387165"/>
                          <a:ext cx="1710263" cy="861406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40" name="Hexagon 39">
              <a:extLst>
                <a:ext uri="{FF2B5EF4-FFF2-40B4-BE49-F238E27FC236}">
                  <a16:creationId xmlns:a16="http://schemas.microsoft.com/office/drawing/2014/main" id="{AD2ED252-868D-EEE9-387D-0BF063E43A13}"/>
                </a:ext>
              </a:extLst>
            </p:cNvPr>
            <p:cNvSpPr/>
            <p:nvPr/>
          </p:nvSpPr>
          <p:spPr>
            <a:xfrm>
              <a:off x="3106400" y="3374474"/>
              <a:ext cx="662616" cy="279215"/>
            </a:xfrm>
            <a:prstGeom prst="hexagon">
              <a:avLst/>
            </a:prstGeom>
            <a:solidFill>
              <a:srgbClr val="3163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" rIns="18288" rtlCol="0" anchor="ctr"/>
            <a:lstStyle/>
            <a:p>
              <a:pPr algn="ctr"/>
              <a:r>
                <a:rPr lang="en-US" sz="800" dirty="0">
                  <a:latin typeface="Calibri" panose="020F0502020204030204" pitchFamily="34" charset="0"/>
                  <a:cs typeface="Calibri" panose="020F0502020204030204" pitchFamily="34" charset="0"/>
                </a:rPr>
                <a:t>Prodrug Moiety</a:t>
              </a:r>
            </a:p>
          </p:txBody>
        </p: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76E7848E-241C-2C06-E989-65A902A33B15}"/>
              </a:ext>
            </a:extLst>
          </p:cNvPr>
          <p:cNvSpPr txBox="1"/>
          <p:nvPr/>
        </p:nvSpPr>
        <p:spPr>
          <a:xfrm>
            <a:off x="1828564" y="4098007"/>
            <a:ext cx="1072772" cy="328653"/>
          </a:xfrm>
          <a:prstGeom prst="rect">
            <a:avLst/>
          </a:prstGeom>
          <a:solidFill>
            <a:schemeClr val="bg1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1500" b="1">
                <a:solidFill>
                  <a:schemeClr val="l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>
              <a:defRPr/>
            </a:pPr>
            <a:r>
              <a:rPr lang="en-US" dirty="0">
                <a:solidFill>
                  <a:srgbClr val="04143F"/>
                </a:solidFill>
              </a:rPr>
              <a:t>NTS-104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DDFC950-4DCE-2905-6A90-30FED7BAEB06}"/>
              </a:ext>
            </a:extLst>
          </p:cNvPr>
          <p:cNvSpPr txBox="1"/>
          <p:nvPr/>
        </p:nvSpPr>
        <p:spPr>
          <a:xfrm>
            <a:off x="6215932" y="1251486"/>
            <a:ext cx="1072772" cy="328653"/>
          </a:xfrm>
          <a:prstGeom prst="rect">
            <a:avLst/>
          </a:prstGeom>
          <a:solidFill>
            <a:schemeClr val="bg1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1500" b="1">
                <a:solidFill>
                  <a:schemeClr val="l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8">
              <a:defRPr/>
            </a:pPr>
            <a:r>
              <a:rPr lang="en-US" dirty="0">
                <a:solidFill>
                  <a:srgbClr val="4285F4"/>
                </a:solidFill>
              </a:rPr>
              <a:t>NTS-105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D221EA42-E627-A9B4-1289-E15F156E88DF}"/>
              </a:ext>
            </a:extLst>
          </p:cNvPr>
          <p:cNvGrpSpPr/>
          <p:nvPr/>
        </p:nvGrpSpPr>
        <p:grpSpPr>
          <a:xfrm>
            <a:off x="4874384" y="1750123"/>
            <a:ext cx="3755868" cy="2184445"/>
            <a:chOff x="4778064" y="1750123"/>
            <a:chExt cx="3755868" cy="2184445"/>
          </a:xfrm>
        </p:grpSpPr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74DF1D02-CDD9-81D6-B5EF-0130BFF1F341}"/>
                </a:ext>
              </a:extLst>
            </p:cNvPr>
            <p:cNvCxnSpPr>
              <a:cxnSpLocks/>
              <a:stCxn id="57" idx="6"/>
              <a:endCxn id="46" idx="2"/>
            </p:cNvCxnSpPr>
            <p:nvPr/>
          </p:nvCxnSpPr>
          <p:spPr>
            <a:xfrm flipV="1">
              <a:off x="4858225" y="1953393"/>
              <a:ext cx="0" cy="1565893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971CA29F-F7E6-70A8-CE1F-C3D010FA4CCA}"/>
                </a:ext>
              </a:extLst>
            </p:cNvPr>
            <p:cNvSpPr>
              <a:spLocks noChangeAspect="1"/>
            </p:cNvSpPr>
            <p:nvPr/>
          </p:nvSpPr>
          <p:spPr>
            <a:xfrm rot="16200000">
              <a:off x="4778065" y="1793073"/>
              <a:ext cx="160319" cy="160321"/>
            </a:xfrm>
            <a:prstGeom prst="ellipse">
              <a:avLst/>
            </a:prstGeom>
            <a:gradFill flip="none" rotWithShape="1">
              <a:gsLst>
                <a:gs pos="49400">
                  <a:srgbClr val="316399"/>
                </a:gs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rgbClr val="04143F"/>
                </a:gs>
              </a:gsLst>
              <a:path path="circle">
                <a:fillToRect l="100000" b="100000"/>
              </a:path>
              <a:tileRect t="-100000" r="-100000"/>
            </a:gradFill>
            <a:ln w="28575"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t"/>
            <a:lstStyle/>
            <a:p>
              <a:endParaRPr lang="en-US" b="1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0A846E68-40FF-6716-A947-28C772733C21}"/>
                </a:ext>
              </a:extLst>
            </p:cNvPr>
            <p:cNvSpPr/>
            <p:nvPr/>
          </p:nvSpPr>
          <p:spPr>
            <a:xfrm>
              <a:off x="5077932" y="1750123"/>
              <a:ext cx="3456000" cy="46166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500" i="0" u="none" strike="noStrike" kern="1200" cap="none" spc="0" normalizeH="0" baseline="0" noProof="0" dirty="0">
                  <a:ln>
                    <a:noFill/>
                  </a:ln>
                  <a:solidFill>
                    <a:srgbClr val="04143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nhanced pharmacologic properties relative </a:t>
              </a:r>
              <a:br>
                <a:rPr kumimoji="1" lang="en-US" sz="1500" i="0" u="none" strike="noStrike" kern="1200" cap="none" spc="0" normalizeH="0" baseline="0" noProof="0" dirty="0">
                  <a:ln>
                    <a:noFill/>
                  </a:ln>
                  <a:solidFill>
                    <a:srgbClr val="04143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</a:br>
              <a:r>
                <a:rPr kumimoji="1" lang="en-US" sz="1500" i="0" u="none" strike="noStrike" kern="1200" cap="none" spc="0" normalizeH="0" baseline="0" noProof="0" dirty="0">
                  <a:ln>
                    <a:noFill/>
                  </a:ln>
                  <a:solidFill>
                    <a:srgbClr val="04143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o progesterone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2AA5B7A6-04B4-A7F1-0854-48D239896A1A}"/>
                </a:ext>
              </a:extLst>
            </p:cNvPr>
            <p:cNvSpPr/>
            <p:nvPr/>
          </p:nvSpPr>
          <p:spPr>
            <a:xfrm>
              <a:off x="5077932" y="2324383"/>
              <a:ext cx="3456000" cy="46166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500" i="0" u="none" strike="noStrike" kern="1200" cap="none" spc="0" normalizeH="0" baseline="0" noProof="0" dirty="0">
                  <a:ln>
                    <a:noFill/>
                  </a:ln>
                  <a:solidFill>
                    <a:srgbClr val="04143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rosses BBB and achieves pharmacologically important brain concentrations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15FDCCB1-BEB3-2D68-AC69-53BB2BBD4274}"/>
                </a:ext>
              </a:extLst>
            </p:cNvPr>
            <p:cNvSpPr/>
            <p:nvPr/>
          </p:nvSpPr>
          <p:spPr>
            <a:xfrm>
              <a:off x="5077932" y="2898643"/>
              <a:ext cx="3456000" cy="46166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500" i="0" u="none" strike="noStrike" kern="1200" cap="none" spc="0" normalizeH="0" baseline="0" noProof="0" dirty="0">
                  <a:ln>
                    <a:noFill/>
                  </a:ln>
                  <a:solidFill>
                    <a:srgbClr val="04143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uitable for parenteral and non-parenteral dosing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5F6A7B7C-0CC6-668D-333F-94F529452CA8}"/>
                </a:ext>
              </a:extLst>
            </p:cNvPr>
            <p:cNvSpPr/>
            <p:nvPr/>
          </p:nvSpPr>
          <p:spPr>
            <a:xfrm>
              <a:off x="5077932" y="3472903"/>
              <a:ext cx="3456000" cy="46166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1500" i="0" u="none" strike="noStrike" kern="1200" cap="none" spc="0" normalizeH="0" baseline="0" noProof="0" dirty="0">
                  <a:ln>
                    <a:noFill/>
                  </a:ln>
                  <a:solidFill>
                    <a:srgbClr val="04143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ctivates PR nuclear hormone receptor at </a:t>
              </a:r>
              <a:br>
                <a:rPr kumimoji="1" lang="en-US" sz="1500" i="0" u="none" strike="noStrike" kern="1200" cap="none" spc="0" normalizeH="0" baseline="0" noProof="0" dirty="0">
                  <a:ln>
                    <a:noFill/>
                  </a:ln>
                  <a:solidFill>
                    <a:srgbClr val="04143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</a:br>
              <a:r>
                <a:rPr kumimoji="1" lang="en-US" sz="1500" i="0" u="none" strike="noStrike" kern="1200" cap="none" spc="0" normalizeH="0" baseline="0" noProof="0" dirty="0">
                  <a:ln>
                    <a:noFill/>
                  </a:ln>
                  <a:solidFill>
                    <a:srgbClr val="04143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nomolar potency</a:t>
              </a:r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3BDF4377-7233-0D5B-BAAC-7384505F2B17}"/>
                </a:ext>
              </a:extLst>
            </p:cNvPr>
            <p:cNvSpPr>
              <a:spLocks noChangeAspect="1"/>
            </p:cNvSpPr>
            <p:nvPr/>
          </p:nvSpPr>
          <p:spPr>
            <a:xfrm rot="16200000">
              <a:off x="4778065" y="2368477"/>
              <a:ext cx="160319" cy="160321"/>
            </a:xfrm>
            <a:prstGeom prst="ellipse">
              <a:avLst/>
            </a:prstGeom>
            <a:gradFill flip="none" rotWithShape="1">
              <a:gsLst>
                <a:gs pos="49400">
                  <a:srgbClr val="316399"/>
                </a:gs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rgbClr val="04143F"/>
                </a:gs>
              </a:gsLst>
              <a:path path="circle">
                <a:fillToRect l="100000" b="100000"/>
              </a:path>
              <a:tileRect t="-100000" r="-100000"/>
            </a:gradFill>
            <a:ln w="28575"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t"/>
            <a:lstStyle/>
            <a:p>
              <a:endParaRPr lang="en-US" b="1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F0061CE8-B9DB-127D-37A7-EFB00982A5B1}"/>
                </a:ext>
              </a:extLst>
            </p:cNvPr>
            <p:cNvSpPr>
              <a:spLocks noChangeAspect="1"/>
            </p:cNvSpPr>
            <p:nvPr/>
          </p:nvSpPr>
          <p:spPr>
            <a:xfrm rot="16200000">
              <a:off x="4778065" y="2943881"/>
              <a:ext cx="160319" cy="160321"/>
            </a:xfrm>
            <a:prstGeom prst="ellipse">
              <a:avLst/>
            </a:prstGeom>
            <a:gradFill flip="none" rotWithShape="1">
              <a:gsLst>
                <a:gs pos="49400">
                  <a:srgbClr val="316399"/>
                </a:gs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rgbClr val="04143F"/>
                </a:gs>
              </a:gsLst>
              <a:path path="circle">
                <a:fillToRect l="100000" b="100000"/>
              </a:path>
              <a:tileRect t="-100000" r="-100000"/>
            </a:gradFill>
            <a:ln w="28575"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t"/>
            <a:lstStyle/>
            <a:p>
              <a:endParaRPr lang="en-US" b="1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BA1B8436-63BE-88B1-2B97-50FAAD8F34C2}"/>
                </a:ext>
              </a:extLst>
            </p:cNvPr>
            <p:cNvSpPr>
              <a:spLocks noChangeAspect="1"/>
            </p:cNvSpPr>
            <p:nvPr/>
          </p:nvSpPr>
          <p:spPr>
            <a:xfrm rot="16200000">
              <a:off x="4778065" y="3519285"/>
              <a:ext cx="160319" cy="160321"/>
            </a:xfrm>
            <a:prstGeom prst="ellipse">
              <a:avLst/>
            </a:prstGeom>
            <a:gradFill flip="none" rotWithShape="1">
              <a:gsLst>
                <a:gs pos="49400">
                  <a:srgbClr val="316399"/>
                </a:gs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rgbClr val="04143F"/>
                </a:gs>
              </a:gsLst>
              <a:path path="circle">
                <a:fillToRect l="100000" b="100000"/>
              </a:path>
              <a:tileRect t="-100000" r="-100000"/>
            </a:gradFill>
            <a:ln w="28575"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t"/>
            <a:lstStyle/>
            <a:p>
              <a:endParaRPr lang="en-US" b="1">
                <a:solidFill>
                  <a:srgbClr val="04143F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F0AD6C9B-3B22-4DF2-8A2D-2D0BE8B08565}"/>
              </a:ext>
            </a:extLst>
          </p:cNvPr>
          <p:cNvGrpSpPr/>
          <p:nvPr/>
        </p:nvGrpSpPr>
        <p:grpSpPr>
          <a:xfrm>
            <a:off x="4419376" y="2655860"/>
            <a:ext cx="303591" cy="303591"/>
            <a:chOff x="4416697" y="2045882"/>
            <a:chExt cx="303591" cy="303591"/>
          </a:xfrm>
        </p:grpSpPr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B3F9AA6A-4FF8-C2C4-E4A2-A780D9AD0588}"/>
                </a:ext>
              </a:extLst>
            </p:cNvPr>
            <p:cNvSpPr/>
            <p:nvPr/>
          </p:nvSpPr>
          <p:spPr bwMode="auto">
            <a:xfrm>
              <a:off x="4416697" y="2045882"/>
              <a:ext cx="303591" cy="303591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rgbClr val="316399"/>
              </a:solidFill>
              <a:prstDash val="solid"/>
              <a:miter lim="400000"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825500" rtl="0" eaLnBrk="1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peedee" panose="020B0603030502020204" pitchFamily="34" charset="0"/>
                <a:ea typeface="Helvetica" pitchFamily="2" charset="0"/>
                <a:cs typeface="Helvetica" pitchFamily="2" charset="0"/>
                <a:sym typeface="Speedee" panose="020B0603030502020204" pitchFamily="34" charset="0"/>
              </a:endParaRPr>
            </a:p>
          </p:txBody>
        </p:sp>
        <p:sp>
          <p:nvSpPr>
            <p:cNvPr id="63" name="Arrow: Chevron 62">
              <a:extLst>
                <a:ext uri="{FF2B5EF4-FFF2-40B4-BE49-F238E27FC236}">
                  <a16:creationId xmlns:a16="http://schemas.microsoft.com/office/drawing/2014/main" id="{92635287-0E96-B9E4-861D-44031B15A1F9}"/>
                </a:ext>
              </a:extLst>
            </p:cNvPr>
            <p:cNvSpPr/>
            <p:nvPr/>
          </p:nvSpPr>
          <p:spPr>
            <a:xfrm>
              <a:off x="4485043" y="2119518"/>
              <a:ext cx="166899" cy="156319"/>
            </a:xfrm>
            <a:prstGeom prst="chevron">
              <a:avLst/>
            </a:prstGeom>
            <a:solidFill>
              <a:srgbClr val="3163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65" name="Rectangle 64">
            <a:extLst>
              <a:ext uri="{FF2B5EF4-FFF2-40B4-BE49-F238E27FC236}">
                <a16:creationId xmlns:a16="http://schemas.microsoft.com/office/drawing/2014/main" id="{33B0D774-EB5D-649F-BEE2-385C9ACD8EB0}"/>
              </a:ext>
            </a:extLst>
          </p:cNvPr>
          <p:cNvSpPr/>
          <p:nvPr/>
        </p:nvSpPr>
        <p:spPr>
          <a:xfrm rot="16200000" flipH="1">
            <a:off x="3749736" y="2692239"/>
            <a:ext cx="1044000" cy="2308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04143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version</a:t>
            </a:r>
          </a:p>
        </p:txBody>
      </p:sp>
    </p:spTree>
    <p:extLst>
      <p:ext uri="{BB962C8B-B14F-4D97-AF65-F5344CB8AC3E}">
        <p14:creationId xmlns:p14="http://schemas.microsoft.com/office/powerpoint/2010/main" val="33614773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0C254F2E41DBC488C025C4D98787C86" ma:contentTypeVersion="12" ma:contentTypeDescription="Create a new document." ma:contentTypeScope="" ma:versionID="a60ee118e7dd3b96e959b4de5093e3f8">
  <xsd:schema xmlns:xsd="http://www.w3.org/2001/XMLSchema" xmlns:xs="http://www.w3.org/2001/XMLSchema" xmlns:p="http://schemas.microsoft.com/office/2006/metadata/properties" xmlns:ns2="7efb8072-09d0-47f8-971e-b6745749109e" xmlns:ns3="7bcc3279-a720-443f-b69e-ed81f05b9333" targetNamespace="http://schemas.microsoft.com/office/2006/metadata/properties" ma:root="true" ma:fieldsID="3236d0d7e6e0a484a57dd45252c588f2" ns2:_="" ns3:_="">
    <xsd:import namespace="7efb8072-09d0-47f8-971e-b6745749109e"/>
    <xsd:import namespace="7bcc3279-a720-443f-b69e-ed81f05b933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LengthInSecond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efb8072-09d0-47f8-971e-b674574910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cc3279-a720-443f-b69e-ed81f05b9333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bcc3279-a720-443f-b69e-ed81f05b9333">
      <UserInfo>
        <DisplayName>Slidexpress Output Files Members</DisplayName>
        <AccountId>7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52DC0BA-9DBB-4049-9E74-9AAF290BD1C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efb8072-09d0-47f8-971e-b6745749109e"/>
    <ds:schemaRef ds:uri="7bcc3279-a720-443f-b69e-ed81f05b93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0BBCC86-096A-4633-8820-0B69D19B755C}">
  <ds:schemaRefs>
    <ds:schemaRef ds:uri="http://schemas.microsoft.com/office/2006/metadata/properties"/>
    <ds:schemaRef ds:uri="http://schemas.microsoft.com/office/infopath/2007/PartnerControls"/>
    <ds:schemaRef ds:uri="56aef72c-6acd-4154-9371-6e83b433517f"/>
    <ds:schemaRef ds:uri="8daf16a1-c60c-434e-8da5-ec1666a3ad53"/>
    <ds:schemaRef ds:uri="7bcc3279-a720-443f-b69e-ed81f05b9333"/>
  </ds:schemaRefs>
</ds:datastoreItem>
</file>

<file path=customXml/itemProps3.xml><?xml version="1.0" encoding="utf-8"?>
<ds:datastoreItem xmlns:ds="http://schemas.openxmlformats.org/officeDocument/2006/customXml" ds:itemID="{B1EA9536-C599-437C-9388-F9A9C03946A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8586</TotalTime>
  <Words>1405</Words>
  <Application>Microsoft Macintosh PowerPoint</Application>
  <PresentationFormat>On-screen Show (16:9)</PresentationFormat>
  <Paragraphs>224</Paragraphs>
  <Slides>19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19</vt:i4>
      </vt:variant>
    </vt:vector>
  </HeadingPairs>
  <TitlesOfParts>
    <vt:vector size="27" baseType="lpstr">
      <vt:lpstr>Calibri</vt:lpstr>
      <vt:lpstr>Speedee</vt:lpstr>
      <vt:lpstr>Arial</vt:lpstr>
      <vt:lpstr>Roboto</vt:lpstr>
      <vt:lpstr>Simple Light</vt:lpstr>
      <vt:lpstr>think-cell Slide</vt:lpstr>
      <vt:lpstr>ChemDraw.Document.6.0</vt:lpstr>
      <vt:lpstr>Prism 9</vt:lpstr>
      <vt:lpstr>PowerPoint Presentation</vt:lpstr>
      <vt:lpstr>Brain Injury (Stroke and TBI) Triggers Neuroinflammation and Systemic Dysfunction Throughout Acute and Chronic Recovery Phases</vt:lpstr>
      <vt:lpstr>Brain Injury: Multiple Causes / Multiple Effects</vt:lpstr>
      <vt:lpstr>Lessons from Nature: Neurosteroids</vt:lpstr>
      <vt:lpstr>Neurosteroids And Neuroprotection</vt:lpstr>
      <vt:lpstr>Neurosteroids gaining traction as CNS therapeutics</vt:lpstr>
      <vt:lpstr>Progesterone Represented A Compelling Approach For Neuroprotection</vt:lpstr>
      <vt:lpstr>A Superior Multi-targeted Drug Would Be A Major Advancement For Treating Brain Injury </vt:lpstr>
      <vt:lpstr>Two Novel Chemical Entities With Prodrug – Neuroactive Drug Relationship</vt:lpstr>
      <vt:lpstr>Brain NTS-105 Concentrations Engage Molecular Targets After Systemic Administration Of Efficacious Doses</vt:lpstr>
      <vt:lpstr>NTS-105 Reduces Cell Death In An Ex Vivo Model Of TBI</vt:lpstr>
      <vt:lpstr>NTS-104 (EIDD-1723) Treatment Improves Functional Outcomes Following TBI</vt:lpstr>
      <vt:lpstr>Moderate-Severe TBI Pilot Study: NTS-104 Reduced Edema and Improves Cognitive Outcome (Lateral Fluid Percussion In Rat)</vt:lpstr>
      <vt:lpstr>Cerebrovascular Fibrin Exposure: NTS-105 Reduced Markers Of Cerebrovascular Endothelial Cell Damage And Inflammation</vt:lpstr>
      <vt:lpstr>NTS-104 Improves Neurological Function After Ischemic Stroke</vt:lpstr>
      <vt:lpstr>NTS-104 Treatment Dose-Dependently Reduces Circulating And Cortical IL-6 Acutely Following Ischemic Stroke</vt:lpstr>
      <vt:lpstr>Conclusions/Future Objectives</vt:lpstr>
      <vt:lpstr>THANK YOU</vt:lpstr>
      <vt:lpstr>Acknowledgemen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veloping Biopharmaceutical Therapies to Treat Acquired Brain Injury</dc:title>
  <dc:creator>John-Claude Saltiel</dc:creator>
  <cp:lastModifiedBy>Tom Jay Parry</cp:lastModifiedBy>
  <cp:revision>690</cp:revision>
  <dcterms:modified xsi:type="dcterms:W3CDTF">2022-06-03T16:12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0C254F2E41DBC488C025C4D98787C86</vt:lpwstr>
  </property>
  <property fmtid="{D5CDD505-2E9C-101B-9397-08002B2CF9AE}" pid="3" name="MediaServiceImageTags">
    <vt:lpwstr/>
  </property>
</Properties>
</file>